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34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6924304F-8740-455A-34DA-60E245EFA32E}" name="Jessica Rice" initials="JR" userId="S::JessicaR@audienz.com::e4e2e0a7-c98f-4ef7-8cbd-0c23ec434b48" providerId="AD"/>
  <p188:author id="{61ED4381-60B5-4343-5BC3-BC4DCD4FF8A4}" name="Jessy Rodriguez" initials="JR" userId="S::JessyR@audienz.com::be58406e-57ea-4c17-b94d-e08afaed1cd3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E1219EBF-6B77-94C2-1E9F-90327C2D6C4C}" name="Taylor Jorde" initials="TJ" userId="S::taylor@audienz.com::b2d3f61b-a331-4c3c-b56b-11b3c98578fd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FC7EFAFF-323D-930C-E01B-360B83A085E8}" name="Marissa Johnson" initials="MJ" userId="Marissa Johnso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EBFF"/>
    <a:srgbClr val="C5D3E9"/>
    <a:srgbClr val="DBE3F1"/>
    <a:srgbClr val="E5F4FF"/>
    <a:srgbClr val="D9EFFF"/>
    <a:srgbClr val="FF33CC"/>
    <a:srgbClr val="243A5E"/>
    <a:srgbClr val="FFDF7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3" d="100"/>
          <a:sy n="53" d="100"/>
        </p:scale>
        <p:origin x="2539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11593211631742"/>
          <c:y val="4.2673727432486465E-2"/>
          <c:w val="0.60976813576736522"/>
          <c:h val="0.914652545135027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23-40CB-BF58-95BC963169B9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D23-40CB-BF58-95BC963169B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5</c:v>
                </c:pt>
                <c:pt idx="1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23-40CB-BF58-95BC963169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1499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gartner.com/en/newsroom/press-releases/2021-11-10-gartner-says-cloud-will-be-the-centerpiece-of-new-digital-experiences" TargetMode="External"/><Relationship Id="rId5" Type="http://schemas.openxmlformats.org/officeDocument/2006/relationships/chart" Target="../charts/chart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75" descr="A picture containing text, computer, indoor, person&#10;&#10;Description automatically generated">
            <a:extLst>
              <a:ext uri="{FF2B5EF4-FFF2-40B4-BE49-F238E27FC236}">
                <a16:creationId xmlns:a16="http://schemas.microsoft.com/office/drawing/2014/main" id="{2A1142A7-141C-2CB6-06F7-BC56021E352C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17" b="43627"/>
          <a:stretch/>
        </p:blipFill>
        <p:spPr>
          <a:xfrm>
            <a:off x="0" y="1"/>
            <a:ext cx="7772400" cy="1655408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A669B9B0-AE34-587C-D8EC-3A2E037259EF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7772400" cy="1655408"/>
          </a:xfrm>
          <a:prstGeom prst="rect">
            <a:avLst/>
          </a:prstGeom>
          <a:gradFill flip="none" rotWithShape="1">
            <a:gsLst>
              <a:gs pos="3700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D8AEBAA-9785-6921-AA9B-711C8447B6D5}"/>
              </a:ext>
            </a:extLst>
          </p:cNvPr>
          <p:cNvSpPr/>
          <p:nvPr/>
        </p:nvSpPr>
        <p:spPr bwMode="auto">
          <a:xfrm>
            <a:off x="271463" y="666533"/>
            <a:ext cx="3765538" cy="7386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40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Introducing the Modern Workplace Assessment</a:t>
            </a:r>
          </a:p>
        </p:txBody>
      </p:sp>
      <p:pic>
        <p:nvPicPr>
          <p:cNvPr id="82" name="Picture 81" descr="A close up of a logo&#10;&#10;Description automatically generated">
            <a:extLst>
              <a:ext uri="{FF2B5EF4-FFF2-40B4-BE49-F238E27FC236}">
                <a16:creationId xmlns:a16="http://schemas.microsoft.com/office/drawing/2014/main" id="{4525E926-43D1-3808-DCA9-26E3F772039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546" t="33595" b="33595"/>
          <a:stretch/>
        </p:blipFill>
        <p:spPr>
          <a:xfrm>
            <a:off x="267652" y="259307"/>
            <a:ext cx="3100867" cy="213133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B65977D-1C76-7B2E-3A36-7E22FC592A36}"/>
              </a:ext>
            </a:extLst>
          </p:cNvPr>
          <p:cNvSpPr>
            <a:spLocks/>
          </p:cNvSpPr>
          <p:nvPr/>
        </p:nvSpPr>
        <p:spPr bwMode="auto">
          <a:xfrm>
            <a:off x="0" y="1762733"/>
            <a:ext cx="3368519" cy="21336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14300" defTabSz="623438">
              <a:spcAft>
                <a:spcPts val="800"/>
              </a:spcAft>
              <a:defRPr/>
            </a:pPr>
            <a:r>
              <a:rPr lang="en-US" sz="1600">
                <a:solidFill>
                  <a:schemeClr val="accent3"/>
                </a:solidFill>
                <a:latin typeface="+mj-lt"/>
                <a:cs typeface="Segoe UI Semibold"/>
              </a:rPr>
              <a:t>Improve end user productivity </a:t>
            </a:r>
          </a:p>
          <a:p>
            <a:pPr marL="114300" defTabSz="623438">
              <a:spcAft>
                <a:spcPts val="800"/>
              </a:spcAft>
              <a:defRPr/>
            </a:pPr>
            <a:r>
              <a:rPr lang="en-US" sz="1400">
                <a:solidFill>
                  <a:schemeClr val="tx1"/>
                </a:solidFill>
                <a:latin typeface="+mj-lt"/>
                <a:cs typeface="Segoe UI Semibold"/>
              </a:rPr>
              <a:t>The Modern Workplace </a:t>
            </a:r>
            <a:br>
              <a:rPr lang="en-US" sz="1400">
                <a:solidFill>
                  <a:schemeClr val="tx1"/>
                </a:solidFill>
                <a:latin typeface="+mj-lt"/>
                <a:cs typeface="Segoe UI Semibold"/>
              </a:rPr>
            </a:br>
            <a:r>
              <a:rPr lang="en-US" sz="1400">
                <a:solidFill>
                  <a:schemeClr val="tx1"/>
                </a:solidFill>
                <a:latin typeface="+mj-lt"/>
                <a:cs typeface="Segoe UI Semibold"/>
              </a:rPr>
              <a:t>Assessment </a:t>
            </a:r>
            <a:r>
              <a:rPr lang="en-US" sz="1400">
                <a:solidFill>
                  <a:schemeClr val="tx1"/>
                </a:solidFill>
                <a:cs typeface="Segoe UI Semibold"/>
              </a:rPr>
              <a:t>focuses on migrating to or implementing a Software as a Service (SaaS) Strategy </a:t>
            </a:r>
          </a:p>
        </p:txBody>
      </p:sp>
      <p:sp>
        <p:nvSpPr>
          <p:cNvPr id="86" name="Arrow: Bent 85">
            <a:extLst>
              <a:ext uri="{FF2B5EF4-FFF2-40B4-BE49-F238E27FC236}">
                <a16:creationId xmlns:a16="http://schemas.microsoft.com/office/drawing/2014/main" id="{F35A47A1-1540-A77C-6A47-CCF6AB345727}"/>
              </a:ext>
            </a:extLst>
          </p:cNvPr>
          <p:cNvSpPr>
            <a:spLocks/>
          </p:cNvSpPr>
          <p:nvPr/>
        </p:nvSpPr>
        <p:spPr bwMode="auto">
          <a:xfrm>
            <a:off x="3550920" y="1762733"/>
            <a:ext cx="4221480" cy="2058352"/>
          </a:xfrm>
          <a:prstGeom prst="bentArrow">
            <a:avLst>
              <a:gd name="adj1" fmla="val 25000"/>
              <a:gd name="adj2" fmla="val 0"/>
              <a:gd name="adj3" fmla="val 25000"/>
              <a:gd name="adj4" fmla="val 0"/>
            </a:avLst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49E1D12E-A3B4-5FD4-61A5-6E3A93971B93}"/>
              </a:ext>
            </a:extLst>
          </p:cNvPr>
          <p:cNvSpPr/>
          <p:nvPr/>
        </p:nvSpPr>
        <p:spPr bwMode="auto">
          <a:xfrm>
            <a:off x="3513296" y="3821085"/>
            <a:ext cx="75248" cy="75248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39_1">
            <a:extLst>
              <a:ext uri="{FF2B5EF4-FFF2-40B4-BE49-F238E27FC236}">
                <a16:creationId xmlns:a16="http://schemas.microsoft.com/office/drawing/2014/main" id="{333C169C-2E00-F858-52ED-D8A580FE7985}"/>
              </a:ext>
            </a:extLst>
          </p:cNvPr>
          <p:cNvSpPr txBox="1">
            <a:spLocks/>
          </p:cNvSpPr>
          <p:nvPr/>
        </p:nvSpPr>
        <p:spPr>
          <a:xfrm>
            <a:off x="3682841" y="1912029"/>
            <a:ext cx="2363404" cy="215444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8255" defTabSz="623438">
              <a:defRPr sz="1400">
                <a:solidFill>
                  <a:schemeClr val="accent3"/>
                </a:solidFill>
                <a:cs typeface="Segoe UI Semibold"/>
              </a:defRPr>
            </a:lvl1pPr>
          </a:lstStyle>
          <a:p>
            <a:pPr marL="0"/>
            <a:r>
              <a:rPr lang="en-US">
                <a:solidFill>
                  <a:schemeClr val="bg2"/>
                </a:solidFill>
                <a:latin typeface="+mj-lt"/>
              </a:rPr>
              <a:t>When to use this Assessment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D36754E-A501-611F-A704-D809254CA974}"/>
              </a:ext>
            </a:extLst>
          </p:cNvPr>
          <p:cNvCxnSpPr>
            <a:cxnSpLocks/>
          </p:cNvCxnSpPr>
          <p:nvPr/>
        </p:nvCxnSpPr>
        <p:spPr>
          <a:xfrm>
            <a:off x="3550920" y="1858906"/>
            <a:ext cx="0" cy="321690"/>
          </a:xfrm>
          <a:prstGeom prst="line">
            <a:avLst/>
          </a:prstGeom>
          <a:ln w="349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B8958B1D-141E-9A0B-0BCE-B8181313D1CB}"/>
              </a:ext>
            </a:extLst>
          </p:cNvPr>
          <p:cNvSpPr/>
          <p:nvPr/>
        </p:nvSpPr>
        <p:spPr bwMode="auto">
          <a:xfrm>
            <a:off x="4151640" y="2317695"/>
            <a:ext cx="3354060" cy="1846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Limited ability to enable remote work productivity 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2C58ED3-930F-8339-DDC6-92FACC4A4789}"/>
              </a:ext>
            </a:extLst>
          </p:cNvPr>
          <p:cNvSpPr/>
          <p:nvPr/>
        </p:nvSpPr>
        <p:spPr bwMode="auto">
          <a:xfrm>
            <a:off x="4151640" y="2790472"/>
            <a:ext cx="3354060" cy="3693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Fragmented collaboration caused by multiple system deployment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7AEFAB5-D634-724F-6E0E-40C241E7BC41}"/>
              </a:ext>
            </a:extLst>
          </p:cNvPr>
          <p:cNvSpPr/>
          <p:nvPr/>
        </p:nvSpPr>
        <p:spPr bwMode="auto">
          <a:xfrm>
            <a:off x="4151640" y="3355581"/>
            <a:ext cx="3354060" cy="3693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Cloud security​ concerns around migration due to lack of visibility, capabilities and barriers. 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1E3F34AF-2EBE-C2F4-5838-821F6E9CA307}"/>
              </a:ext>
            </a:extLst>
          </p:cNvPr>
          <p:cNvCxnSpPr>
            <a:cxnSpLocks/>
          </p:cNvCxnSpPr>
          <p:nvPr/>
        </p:nvCxnSpPr>
        <p:spPr>
          <a:xfrm>
            <a:off x="4151640" y="2692583"/>
            <a:ext cx="3354060" cy="0"/>
          </a:xfrm>
          <a:prstGeom prst="line">
            <a:avLst/>
          </a:prstGeom>
          <a:ln w="3175">
            <a:solidFill>
              <a:schemeClr val="tx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924B1AE1-CA9E-03BA-4F2A-8B91540D9FEC}"/>
              </a:ext>
            </a:extLst>
          </p:cNvPr>
          <p:cNvCxnSpPr>
            <a:cxnSpLocks/>
          </p:cNvCxnSpPr>
          <p:nvPr/>
        </p:nvCxnSpPr>
        <p:spPr>
          <a:xfrm>
            <a:off x="4151640" y="3257693"/>
            <a:ext cx="3354060" cy="0"/>
          </a:xfrm>
          <a:prstGeom prst="line">
            <a:avLst/>
          </a:prstGeom>
          <a:ln w="3175">
            <a:solidFill>
              <a:schemeClr val="tx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E22D7248-F769-1E2C-5741-CE53F161FCE4}"/>
              </a:ext>
            </a:extLst>
          </p:cNvPr>
          <p:cNvGrpSpPr/>
          <p:nvPr/>
        </p:nvGrpSpPr>
        <p:grpSpPr>
          <a:xfrm>
            <a:off x="0" y="4003658"/>
            <a:ext cx="7772399" cy="834418"/>
            <a:chOff x="0" y="4033693"/>
            <a:chExt cx="7772399" cy="834418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79A32F0A-308B-7EEC-FDEE-869A094A4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129544"/>
              <a:ext cx="7772399" cy="642716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FF7ACC0B-353C-3D45-E7DB-CEDAFEBBDFCA}"/>
                </a:ext>
              </a:extLst>
            </p:cNvPr>
            <p:cNvSpPr/>
            <p:nvPr/>
          </p:nvSpPr>
          <p:spPr bwMode="auto">
            <a:xfrm>
              <a:off x="276237" y="4033693"/>
              <a:ext cx="834418" cy="834418"/>
            </a:xfrm>
            <a:prstGeom prst="ellips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aphicFrame>
          <p:nvGraphicFramePr>
            <p:cNvPr id="141" name="Chart 140">
              <a:extLst>
                <a:ext uri="{FF2B5EF4-FFF2-40B4-BE49-F238E27FC236}">
                  <a16:creationId xmlns:a16="http://schemas.microsoft.com/office/drawing/2014/main" id="{1D0DB304-7267-72A2-22C0-B2293BD06F0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341346762"/>
                </p:ext>
              </p:extLst>
            </p:nvPr>
          </p:nvGraphicFramePr>
          <p:xfrm>
            <a:off x="102319" y="4069537"/>
            <a:ext cx="1182254" cy="7627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3271521-D728-4047-8C20-33173866D8E8}"/>
                </a:ext>
              </a:extLst>
            </p:cNvPr>
            <p:cNvSpPr txBox="1"/>
            <p:nvPr/>
          </p:nvSpPr>
          <p:spPr>
            <a:xfrm>
              <a:off x="554786" y="4371084"/>
              <a:ext cx="299762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Aft>
                  <a:spcPts val="600"/>
                </a:spcAft>
              </a:pPr>
              <a:r>
                <a:rPr lang="en-IN" sz="1200">
                  <a:solidFill>
                    <a:schemeClr val="bg2"/>
                  </a:solidFill>
                  <a:latin typeface="+mj-lt"/>
                </a:rPr>
                <a:t>85%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36878B46-B7CC-8F68-6341-43CAECA9AF44}"/>
                </a:ext>
              </a:extLst>
            </p:cNvPr>
            <p:cNvSpPr>
              <a:spLocks/>
            </p:cNvSpPr>
            <p:nvPr/>
          </p:nvSpPr>
          <p:spPr>
            <a:xfrm>
              <a:off x="1282889" y="4504548"/>
              <a:ext cx="6161061" cy="12311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lvl="0">
                <a:defRPr/>
              </a:pPr>
              <a:r>
                <a:rPr lang="en-US" sz="800" i="1" baseline="30000">
                  <a:solidFill>
                    <a:schemeClr val="accent2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</a:t>
              </a:r>
              <a:r>
                <a:rPr lang="en-US" sz="800" i="1">
                  <a:solidFill>
                    <a:schemeClr val="accent2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rtner 2021</a:t>
              </a:r>
              <a:endParaRPr lang="en-US" sz="800" i="1">
                <a:solidFill>
                  <a:schemeClr val="accent2"/>
                </a:solidFill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5EE0E59-3572-FA2F-ACED-8054838BF73A}"/>
                </a:ext>
              </a:extLst>
            </p:cNvPr>
            <p:cNvSpPr txBox="1">
              <a:spLocks/>
            </p:cNvSpPr>
            <p:nvPr/>
          </p:nvSpPr>
          <p:spPr>
            <a:xfrm>
              <a:off x="1282889" y="4293858"/>
              <a:ext cx="616106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lvl="0">
                <a:defRPr/>
              </a:pPr>
              <a:r>
                <a:rPr lang="en-US" sz="900">
                  <a:solidFill>
                    <a:schemeClr val="bg1"/>
                  </a:solidFill>
                  <a:cs typeface="Segoe UI" panose="020B0502040204020203" pitchFamily="34" charset="0"/>
                </a:rPr>
                <a:t>85% of organizations will be “cloud-first” by 2025</a:t>
              </a:r>
              <a:r>
                <a:rPr lang="en-US" sz="900" baseline="30000">
                  <a:solidFill>
                    <a:schemeClr val="bg1"/>
                  </a:solidFill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5F62ED2-0CB1-EC26-84E0-6008CB6A6CDF}"/>
              </a:ext>
            </a:extLst>
          </p:cNvPr>
          <p:cNvGrpSpPr/>
          <p:nvPr/>
        </p:nvGrpSpPr>
        <p:grpSpPr>
          <a:xfrm>
            <a:off x="1" y="7222665"/>
            <a:ext cx="7772399" cy="1985963"/>
            <a:chOff x="1" y="7051029"/>
            <a:chExt cx="7772399" cy="1985963"/>
          </a:xfrm>
        </p:grpSpPr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89AF5F9-EE94-229C-1D76-EA483B3F769B}"/>
                </a:ext>
              </a:extLst>
            </p:cNvPr>
            <p:cNvSpPr/>
            <p:nvPr/>
          </p:nvSpPr>
          <p:spPr bwMode="auto">
            <a:xfrm>
              <a:off x="1" y="7051029"/>
              <a:ext cx="7772399" cy="804790"/>
            </a:xfrm>
            <a:prstGeom prst="rect">
              <a:avLst/>
            </a:prstGeom>
            <a:solidFill>
              <a:schemeClr val="tx1">
                <a:lumMod val="95000"/>
                <a:alpha val="66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IN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17DED49-0CB8-260D-63D1-9545A5910437}"/>
                </a:ext>
              </a:extLst>
            </p:cNvPr>
            <p:cNvSpPr txBox="1"/>
            <p:nvPr/>
          </p:nvSpPr>
          <p:spPr>
            <a:xfrm>
              <a:off x="2009301" y="7173238"/>
              <a:ext cx="358463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IN" sz="1200">
                  <a:solidFill>
                    <a:schemeClr val="accent2"/>
                  </a:solidFill>
                  <a:latin typeface="+mj-lt"/>
                </a:rPr>
                <a:t>Migrate confidently with expert help along the way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8A04649A-8A38-1D96-7538-AABD44046973}"/>
                </a:ext>
              </a:extLst>
            </p:cNvPr>
            <p:cNvSpPr txBox="1"/>
            <p:nvPr/>
          </p:nvSpPr>
          <p:spPr>
            <a:xfrm>
              <a:off x="652086" y="7403535"/>
              <a:ext cx="646822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100">
                  <a:solidFill>
                    <a:schemeClr val="bg1"/>
                  </a:solidFill>
                </a:rPr>
                <a:t>Our experts will guide you through our detailed four-phased approach, from identifying your business goals to implementing specific action items.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8568E767-A95E-7D54-138E-66081193B902}"/>
                </a:ext>
              </a:extLst>
            </p:cNvPr>
            <p:cNvSpPr txBox="1"/>
            <p:nvPr/>
          </p:nvSpPr>
          <p:spPr>
            <a:xfrm>
              <a:off x="290303" y="8293198"/>
              <a:ext cx="1394768" cy="5745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IN" sz="1200">
                  <a:solidFill>
                    <a:schemeClr val="bg2"/>
                  </a:solidFill>
                  <a:latin typeface="+mj-lt"/>
                </a:rPr>
                <a:t>Planning</a:t>
              </a:r>
            </a:p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US" sz="1100">
                  <a:solidFill>
                    <a:schemeClr val="bg1"/>
                  </a:solidFill>
                </a:rPr>
                <a:t>Identify business goals and objectives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9C1F83DE-9A8B-D144-84E6-C72B0DF4358B}"/>
                </a:ext>
              </a:extLst>
            </p:cNvPr>
            <p:cNvSpPr txBox="1"/>
            <p:nvPr/>
          </p:nvSpPr>
          <p:spPr>
            <a:xfrm>
              <a:off x="2139265" y="8293198"/>
              <a:ext cx="1452724" cy="7437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IN" sz="1200">
                  <a:solidFill>
                    <a:schemeClr val="bg2"/>
                  </a:solidFill>
                  <a:latin typeface="+mj-lt"/>
                </a:rPr>
                <a:t>Data collection</a:t>
              </a:r>
            </a:p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US" sz="1100">
                  <a:solidFill>
                    <a:schemeClr val="bg1"/>
                  </a:solidFill>
                </a:rPr>
                <a:t>Provide a clear picture of the current data estate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0F5EE98-F7BE-9372-2946-D86D1FC9DB76}"/>
                </a:ext>
              </a:extLst>
            </p:cNvPr>
            <p:cNvSpPr txBox="1"/>
            <p:nvPr/>
          </p:nvSpPr>
          <p:spPr>
            <a:xfrm>
              <a:off x="4046183" y="8293198"/>
              <a:ext cx="1524713" cy="7437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IN" sz="1200">
                  <a:solidFill>
                    <a:schemeClr val="bg2"/>
                  </a:solidFill>
                  <a:latin typeface="+mj-lt"/>
                </a:rPr>
                <a:t>Analysis</a:t>
              </a:r>
            </a:p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US" sz="1100">
                  <a:solidFill>
                    <a:schemeClr val="bg1"/>
                  </a:solidFill>
                </a:rPr>
                <a:t>Optimize investments with data and infrastructure analysis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3FD5343F-E03A-A4EC-815F-75FD39CE4367}"/>
                </a:ext>
              </a:extLst>
            </p:cNvPr>
            <p:cNvSpPr txBox="1"/>
            <p:nvPr/>
          </p:nvSpPr>
          <p:spPr>
            <a:xfrm>
              <a:off x="6025087" y="8293198"/>
              <a:ext cx="1480614" cy="7437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IN" sz="1200">
                  <a:solidFill>
                    <a:schemeClr val="bg2"/>
                  </a:solidFill>
                  <a:latin typeface="+mj-lt"/>
                </a:rPr>
                <a:t>Action</a:t>
              </a:r>
            </a:p>
            <a:p>
              <a:pPr algn="ctr">
                <a:spcBef>
                  <a:spcPts val="200"/>
                </a:spcBef>
                <a:spcAft>
                  <a:spcPts val="200"/>
                </a:spcAft>
              </a:pPr>
              <a:r>
                <a:rPr lang="en-US" sz="1100">
                  <a:solidFill>
                    <a:schemeClr val="bg1"/>
                  </a:solidFill>
                </a:rPr>
                <a:t>Implement a strategic plan tailored to each cloud journey</a:t>
              </a:r>
            </a:p>
          </p:txBody>
        </p: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5485B001-D975-72C3-6D35-BFAECB0F916F}"/>
                </a:ext>
              </a:extLst>
            </p:cNvPr>
            <p:cNvCxnSpPr>
              <a:cxnSpLocks/>
            </p:cNvCxnSpPr>
            <p:nvPr/>
          </p:nvCxnSpPr>
          <p:spPr>
            <a:xfrm>
              <a:off x="1912168" y="8293199"/>
              <a:ext cx="0" cy="743793"/>
            </a:xfrm>
            <a:prstGeom prst="line">
              <a:avLst/>
            </a:prstGeom>
            <a:ln w="6350">
              <a:solidFill>
                <a:schemeClr val="tx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F33411F3-DBBD-AA97-2602-0F3958BF57FF}"/>
                </a:ext>
              </a:extLst>
            </p:cNvPr>
            <p:cNvCxnSpPr>
              <a:cxnSpLocks/>
            </p:cNvCxnSpPr>
            <p:nvPr/>
          </p:nvCxnSpPr>
          <p:spPr>
            <a:xfrm>
              <a:off x="3819086" y="8293199"/>
              <a:ext cx="0" cy="743793"/>
            </a:xfrm>
            <a:prstGeom prst="line">
              <a:avLst/>
            </a:prstGeom>
            <a:ln w="6350">
              <a:solidFill>
                <a:schemeClr val="tx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A812254-A4C2-34F8-4C65-24CB0C7783B4}"/>
                </a:ext>
              </a:extLst>
            </p:cNvPr>
            <p:cNvCxnSpPr>
              <a:cxnSpLocks/>
            </p:cNvCxnSpPr>
            <p:nvPr/>
          </p:nvCxnSpPr>
          <p:spPr>
            <a:xfrm>
              <a:off x="5797993" y="8293199"/>
              <a:ext cx="0" cy="743793"/>
            </a:xfrm>
            <a:prstGeom prst="line">
              <a:avLst/>
            </a:prstGeom>
            <a:ln w="6350">
              <a:solidFill>
                <a:schemeClr val="tx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Freeform 96" title="Icon of a gear with a wrench">
              <a:extLst>
                <a:ext uri="{FF2B5EF4-FFF2-40B4-BE49-F238E27FC236}">
                  <a16:creationId xmlns:a16="http://schemas.microsoft.com/office/drawing/2014/main" id="{6688CCC1-D2AF-4ABA-AE33-5111EB4BF50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1737" y="8001149"/>
              <a:ext cx="231900" cy="213524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binary" title="Icon of binary code, ones and zeros">
              <a:extLst>
                <a:ext uri="{FF2B5EF4-FFF2-40B4-BE49-F238E27FC236}">
                  <a16:creationId xmlns:a16="http://schemas.microsoft.com/office/drawing/2014/main" id="{5E8FA055-CE7C-56EA-0C28-D3EB54A7D78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782312" y="8001149"/>
              <a:ext cx="166630" cy="143884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magnify" title="Icon of a magnifying glass">
              <a:extLst>
                <a:ext uri="{FF2B5EF4-FFF2-40B4-BE49-F238E27FC236}">
                  <a16:creationId xmlns:a16="http://schemas.microsoft.com/office/drawing/2014/main" id="{43CFF41B-F2AC-0C3F-F76D-70325D6AB0E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4721627" y="8001149"/>
              <a:ext cx="173824" cy="170502"/>
            </a:xfrm>
            <a:custGeom>
              <a:avLst/>
              <a:gdLst>
                <a:gd name="T0" fmla="*/ 112 w 343"/>
                <a:gd name="T1" fmla="*/ 223 h 338"/>
                <a:gd name="T2" fmla="*/ 0 w 343"/>
                <a:gd name="T3" fmla="*/ 111 h 338"/>
                <a:gd name="T4" fmla="*/ 112 w 343"/>
                <a:gd name="T5" fmla="*/ 0 h 338"/>
                <a:gd name="T6" fmla="*/ 223 w 343"/>
                <a:gd name="T7" fmla="*/ 111 h 338"/>
                <a:gd name="T8" fmla="*/ 112 w 343"/>
                <a:gd name="T9" fmla="*/ 223 h 338"/>
                <a:gd name="T10" fmla="*/ 343 w 343"/>
                <a:gd name="T11" fmla="*/ 338 h 338"/>
                <a:gd name="T12" fmla="*/ 191 w 343"/>
                <a:gd name="T13" fmla="*/ 18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3" h="338">
                  <a:moveTo>
                    <a:pt x="112" y="223"/>
                  </a:moveTo>
                  <a:cubicBezTo>
                    <a:pt x="50" y="223"/>
                    <a:pt x="0" y="173"/>
                    <a:pt x="0" y="111"/>
                  </a:cubicBezTo>
                  <a:cubicBezTo>
                    <a:pt x="0" y="50"/>
                    <a:pt x="50" y="0"/>
                    <a:pt x="112" y="0"/>
                  </a:cubicBezTo>
                  <a:cubicBezTo>
                    <a:pt x="173" y="0"/>
                    <a:pt x="223" y="50"/>
                    <a:pt x="223" y="111"/>
                  </a:cubicBezTo>
                  <a:cubicBezTo>
                    <a:pt x="223" y="173"/>
                    <a:pt x="173" y="223"/>
                    <a:pt x="112" y="223"/>
                  </a:cubicBezTo>
                  <a:close/>
                  <a:moveTo>
                    <a:pt x="343" y="338"/>
                  </a:moveTo>
                  <a:cubicBezTo>
                    <a:pt x="191" y="189"/>
                    <a:pt x="191" y="189"/>
                    <a:pt x="191" y="189"/>
                  </a:cubicBezTo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people_24" title="Icon of a person with a shovel digging">
              <a:extLst>
                <a:ext uri="{FF2B5EF4-FFF2-40B4-BE49-F238E27FC236}">
                  <a16:creationId xmlns:a16="http://schemas.microsoft.com/office/drawing/2014/main" id="{F6443889-D1E8-4FF6-278B-6822BAFD406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62547" y="8001149"/>
              <a:ext cx="205694" cy="194891"/>
            </a:xfrm>
            <a:custGeom>
              <a:avLst/>
              <a:gdLst>
                <a:gd name="T0" fmla="*/ 190 w 333"/>
                <a:gd name="T1" fmla="*/ 66 h 316"/>
                <a:gd name="T2" fmla="*/ 213 w 333"/>
                <a:gd name="T3" fmla="*/ 178 h 316"/>
                <a:gd name="T4" fmla="*/ 197 w 333"/>
                <a:gd name="T5" fmla="*/ 203 h 316"/>
                <a:gd name="T6" fmla="*/ 197 w 333"/>
                <a:gd name="T7" fmla="*/ 203 h 316"/>
                <a:gd name="T8" fmla="*/ 172 w 333"/>
                <a:gd name="T9" fmla="*/ 186 h 316"/>
                <a:gd name="T10" fmla="*/ 161 w 333"/>
                <a:gd name="T11" fmla="*/ 134 h 316"/>
                <a:gd name="T12" fmla="*/ 161 w 333"/>
                <a:gd name="T13" fmla="*/ 134 h 316"/>
                <a:gd name="T14" fmla="*/ 161 w 333"/>
                <a:gd name="T15" fmla="*/ 169 h 316"/>
                <a:gd name="T16" fmla="*/ 180 w 333"/>
                <a:gd name="T17" fmla="*/ 228 h 316"/>
                <a:gd name="T18" fmla="*/ 180 w 333"/>
                <a:gd name="T19" fmla="*/ 294 h 316"/>
                <a:gd name="T20" fmla="*/ 157 w 333"/>
                <a:gd name="T21" fmla="*/ 316 h 316"/>
                <a:gd name="T22" fmla="*/ 157 w 333"/>
                <a:gd name="T23" fmla="*/ 316 h 316"/>
                <a:gd name="T24" fmla="*/ 134 w 333"/>
                <a:gd name="T25" fmla="*/ 294 h 316"/>
                <a:gd name="T26" fmla="*/ 134 w 333"/>
                <a:gd name="T27" fmla="*/ 235 h 316"/>
                <a:gd name="T28" fmla="*/ 115 w 333"/>
                <a:gd name="T29" fmla="*/ 199 h 316"/>
                <a:gd name="T30" fmla="*/ 113 w 333"/>
                <a:gd name="T31" fmla="*/ 198 h 316"/>
                <a:gd name="T32" fmla="*/ 112 w 333"/>
                <a:gd name="T33" fmla="*/ 198 h 316"/>
                <a:gd name="T34" fmla="*/ 111 w 333"/>
                <a:gd name="T35" fmla="*/ 201 h 316"/>
                <a:gd name="T36" fmla="*/ 111 w 333"/>
                <a:gd name="T37" fmla="*/ 250 h 316"/>
                <a:gd name="T38" fmla="*/ 61 w 333"/>
                <a:gd name="T39" fmla="*/ 300 h 316"/>
                <a:gd name="T40" fmla="*/ 27 w 333"/>
                <a:gd name="T41" fmla="*/ 300 h 316"/>
                <a:gd name="T42" fmla="*/ 27 w 333"/>
                <a:gd name="T43" fmla="*/ 300 h 316"/>
                <a:gd name="T44" fmla="*/ 27 w 333"/>
                <a:gd name="T45" fmla="*/ 266 h 316"/>
                <a:gd name="T46" fmla="*/ 67 w 333"/>
                <a:gd name="T47" fmla="*/ 227 h 316"/>
                <a:gd name="T48" fmla="*/ 67 w 333"/>
                <a:gd name="T49" fmla="*/ 126 h 316"/>
                <a:gd name="T50" fmla="*/ 204 w 333"/>
                <a:gd name="T51" fmla="*/ 35 h 316"/>
                <a:gd name="T52" fmla="*/ 204 w 333"/>
                <a:gd name="T53" fmla="*/ 35 h 316"/>
                <a:gd name="T54" fmla="*/ 168 w 333"/>
                <a:gd name="T55" fmla="*/ 0 h 316"/>
                <a:gd name="T56" fmla="*/ 168 w 333"/>
                <a:gd name="T57" fmla="*/ 0 h 316"/>
                <a:gd name="T58" fmla="*/ 133 w 333"/>
                <a:gd name="T59" fmla="*/ 35 h 316"/>
                <a:gd name="T60" fmla="*/ 133 w 333"/>
                <a:gd name="T61" fmla="*/ 35 h 316"/>
                <a:gd name="T62" fmla="*/ 168 w 333"/>
                <a:gd name="T63" fmla="*/ 71 h 316"/>
                <a:gd name="T64" fmla="*/ 168 w 333"/>
                <a:gd name="T65" fmla="*/ 71 h 316"/>
                <a:gd name="T66" fmla="*/ 204 w 333"/>
                <a:gd name="T67" fmla="*/ 35 h 316"/>
                <a:gd name="T68" fmla="*/ 131 w 333"/>
                <a:gd name="T69" fmla="*/ 45 h 316"/>
                <a:gd name="T70" fmla="*/ 115 w 333"/>
                <a:gd name="T71" fmla="*/ 45 h 316"/>
                <a:gd name="T72" fmla="*/ 21 w 333"/>
                <a:gd name="T73" fmla="*/ 72 h 316"/>
                <a:gd name="T74" fmla="*/ 21 w 333"/>
                <a:gd name="T75" fmla="*/ 72 h 316"/>
                <a:gd name="T76" fmla="*/ 21 w 333"/>
                <a:gd name="T77" fmla="*/ 125 h 316"/>
                <a:gd name="T78" fmla="*/ 44 w 333"/>
                <a:gd name="T79" fmla="*/ 148 h 316"/>
                <a:gd name="T80" fmla="*/ 44 w 333"/>
                <a:gd name="T81" fmla="*/ 148 h 316"/>
                <a:gd name="T82" fmla="*/ 67 w 333"/>
                <a:gd name="T83" fmla="*/ 125 h 316"/>
                <a:gd name="T84" fmla="*/ 67 w 333"/>
                <a:gd name="T85" fmla="*/ 120 h 316"/>
                <a:gd name="T86" fmla="*/ 67 w 333"/>
                <a:gd name="T87" fmla="*/ 108 h 316"/>
                <a:gd name="T88" fmla="*/ 102 w 333"/>
                <a:gd name="T89" fmla="*/ 98 h 316"/>
                <a:gd name="T90" fmla="*/ 81 w 333"/>
                <a:gd name="T91" fmla="*/ 104 h 316"/>
                <a:gd name="T92" fmla="*/ 252 w 333"/>
                <a:gd name="T93" fmla="*/ 274 h 316"/>
                <a:gd name="T94" fmla="*/ 232 w 333"/>
                <a:gd name="T95" fmla="*/ 316 h 316"/>
                <a:gd name="T96" fmla="*/ 333 w 333"/>
                <a:gd name="T97" fmla="*/ 316 h 316"/>
                <a:gd name="T98" fmla="*/ 283 w 333"/>
                <a:gd name="T99" fmla="*/ 215 h 316"/>
                <a:gd name="T100" fmla="*/ 252 w 333"/>
                <a:gd name="T101" fmla="*/ 274 h 316"/>
                <a:gd name="T102" fmla="*/ 0 w 333"/>
                <a:gd name="T103" fmla="*/ 24 h 316"/>
                <a:gd name="T104" fmla="*/ 42 w 333"/>
                <a:gd name="T105" fmla="*/ 6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316">
                  <a:moveTo>
                    <a:pt x="190" y="66"/>
                  </a:moveTo>
                  <a:cubicBezTo>
                    <a:pt x="213" y="178"/>
                    <a:pt x="213" y="178"/>
                    <a:pt x="213" y="178"/>
                  </a:cubicBezTo>
                  <a:cubicBezTo>
                    <a:pt x="216" y="189"/>
                    <a:pt x="208" y="200"/>
                    <a:pt x="197" y="203"/>
                  </a:cubicBezTo>
                  <a:cubicBezTo>
                    <a:pt x="197" y="203"/>
                    <a:pt x="197" y="203"/>
                    <a:pt x="197" y="203"/>
                  </a:cubicBezTo>
                  <a:cubicBezTo>
                    <a:pt x="186" y="205"/>
                    <a:pt x="175" y="198"/>
                    <a:pt x="172" y="186"/>
                  </a:cubicBezTo>
                  <a:cubicBezTo>
                    <a:pt x="161" y="134"/>
                    <a:pt x="161" y="134"/>
                    <a:pt x="161" y="134"/>
                  </a:cubicBezTo>
                  <a:cubicBezTo>
                    <a:pt x="161" y="134"/>
                    <a:pt x="161" y="134"/>
                    <a:pt x="161" y="134"/>
                  </a:cubicBezTo>
                  <a:cubicBezTo>
                    <a:pt x="161" y="169"/>
                    <a:pt x="161" y="169"/>
                    <a:pt x="161" y="169"/>
                  </a:cubicBezTo>
                  <a:cubicBezTo>
                    <a:pt x="180" y="228"/>
                    <a:pt x="180" y="228"/>
                    <a:pt x="180" y="228"/>
                  </a:cubicBezTo>
                  <a:cubicBezTo>
                    <a:pt x="180" y="294"/>
                    <a:pt x="180" y="294"/>
                    <a:pt x="180" y="294"/>
                  </a:cubicBezTo>
                  <a:cubicBezTo>
                    <a:pt x="180" y="306"/>
                    <a:pt x="170" y="316"/>
                    <a:pt x="157" y="316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45" y="316"/>
                    <a:pt x="134" y="306"/>
                    <a:pt x="134" y="294"/>
                  </a:cubicBezTo>
                  <a:cubicBezTo>
                    <a:pt x="134" y="235"/>
                    <a:pt x="134" y="235"/>
                    <a:pt x="134" y="235"/>
                  </a:cubicBezTo>
                  <a:cubicBezTo>
                    <a:pt x="115" y="199"/>
                    <a:pt x="115" y="199"/>
                    <a:pt x="115" y="199"/>
                  </a:cubicBezTo>
                  <a:cubicBezTo>
                    <a:pt x="115" y="198"/>
                    <a:pt x="113" y="197"/>
                    <a:pt x="113" y="198"/>
                  </a:cubicBezTo>
                  <a:cubicBezTo>
                    <a:pt x="112" y="198"/>
                    <a:pt x="112" y="198"/>
                    <a:pt x="112" y="198"/>
                  </a:cubicBezTo>
                  <a:cubicBezTo>
                    <a:pt x="111" y="199"/>
                    <a:pt x="111" y="201"/>
                    <a:pt x="111" y="201"/>
                  </a:cubicBezTo>
                  <a:cubicBezTo>
                    <a:pt x="111" y="250"/>
                    <a:pt x="111" y="250"/>
                    <a:pt x="111" y="250"/>
                  </a:cubicBezTo>
                  <a:cubicBezTo>
                    <a:pt x="61" y="300"/>
                    <a:pt x="61" y="300"/>
                    <a:pt x="61" y="300"/>
                  </a:cubicBezTo>
                  <a:cubicBezTo>
                    <a:pt x="52" y="309"/>
                    <a:pt x="37" y="309"/>
                    <a:pt x="27" y="300"/>
                  </a:cubicBezTo>
                  <a:cubicBezTo>
                    <a:pt x="27" y="300"/>
                    <a:pt x="27" y="300"/>
                    <a:pt x="27" y="300"/>
                  </a:cubicBezTo>
                  <a:cubicBezTo>
                    <a:pt x="18" y="290"/>
                    <a:pt x="18" y="275"/>
                    <a:pt x="27" y="266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126"/>
                    <a:pt x="67" y="126"/>
                    <a:pt x="67" y="126"/>
                  </a:cubicBezTo>
                  <a:moveTo>
                    <a:pt x="204" y="35"/>
                  </a:moveTo>
                  <a:cubicBezTo>
                    <a:pt x="204" y="35"/>
                    <a:pt x="204" y="35"/>
                    <a:pt x="204" y="35"/>
                  </a:cubicBezTo>
                  <a:cubicBezTo>
                    <a:pt x="204" y="16"/>
                    <a:pt x="18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49" y="0"/>
                    <a:pt x="133" y="16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55"/>
                    <a:pt x="149" y="71"/>
                    <a:pt x="168" y="71"/>
                  </a:cubicBezTo>
                  <a:cubicBezTo>
                    <a:pt x="168" y="71"/>
                    <a:pt x="168" y="71"/>
                    <a:pt x="168" y="71"/>
                  </a:cubicBezTo>
                  <a:cubicBezTo>
                    <a:pt x="188" y="71"/>
                    <a:pt x="204" y="55"/>
                    <a:pt x="204" y="35"/>
                  </a:cubicBezTo>
                  <a:close/>
                  <a:moveTo>
                    <a:pt x="131" y="45"/>
                  </a:moveTo>
                  <a:cubicBezTo>
                    <a:pt x="115" y="45"/>
                    <a:pt x="115" y="45"/>
                    <a:pt x="115" y="45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37"/>
                    <a:pt x="31" y="148"/>
                    <a:pt x="44" y="148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56" y="148"/>
                    <a:pt x="67" y="137"/>
                    <a:pt x="67" y="125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02" y="98"/>
                    <a:pt x="102" y="98"/>
                    <a:pt x="102" y="98"/>
                  </a:cubicBezTo>
                  <a:moveTo>
                    <a:pt x="81" y="104"/>
                  </a:moveTo>
                  <a:cubicBezTo>
                    <a:pt x="252" y="274"/>
                    <a:pt x="252" y="274"/>
                    <a:pt x="252" y="274"/>
                  </a:cubicBezTo>
                  <a:cubicBezTo>
                    <a:pt x="232" y="316"/>
                    <a:pt x="232" y="316"/>
                    <a:pt x="232" y="316"/>
                  </a:cubicBezTo>
                  <a:cubicBezTo>
                    <a:pt x="333" y="316"/>
                    <a:pt x="333" y="316"/>
                    <a:pt x="333" y="316"/>
                  </a:cubicBezTo>
                  <a:cubicBezTo>
                    <a:pt x="283" y="215"/>
                    <a:pt x="283" y="215"/>
                    <a:pt x="283" y="215"/>
                  </a:cubicBezTo>
                  <a:cubicBezTo>
                    <a:pt x="252" y="274"/>
                    <a:pt x="252" y="274"/>
                    <a:pt x="252" y="274"/>
                  </a:cubicBezTo>
                  <a:moveTo>
                    <a:pt x="0" y="24"/>
                  </a:moveTo>
                  <a:cubicBezTo>
                    <a:pt x="42" y="66"/>
                    <a:pt x="42" y="66"/>
                    <a:pt x="42" y="66"/>
                  </a:cubicBezTo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id="{FA0EC9B1-7FB0-785C-2E0B-EB480C6F53F9}"/>
              </a:ext>
            </a:extLst>
          </p:cNvPr>
          <p:cNvSpPr/>
          <p:nvPr/>
        </p:nvSpPr>
        <p:spPr bwMode="auto">
          <a:xfrm>
            <a:off x="338139" y="4945401"/>
            <a:ext cx="7100886" cy="2169939"/>
          </a:xfrm>
          <a:prstGeom prst="rect">
            <a:avLst/>
          </a:prstGeom>
          <a:solidFill>
            <a:schemeClr val="tx1"/>
          </a:solidFill>
          <a:ln w="6350">
            <a:noFill/>
            <a:headEnd type="none" w="med" len="med"/>
            <a:tailEnd type="none" w="med" len="med"/>
          </a:ln>
          <a:effectLst>
            <a:outerShdw blurRad="63500" algn="ctr" rotWithShape="0">
              <a:schemeClr val="tx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IN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62BA381E-345A-7EF8-8929-E4E278A9C92A}"/>
              </a:ext>
            </a:extLst>
          </p:cNvPr>
          <p:cNvSpPr>
            <a:spLocks/>
          </p:cNvSpPr>
          <p:nvPr/>
        </p:nvSpPr>
        <p:spPr bwMode="auto">
          <a:xfrm>
            <a:off x="271463" y="5050039"/>
            <a:ext cx="7234236" cy="58631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255" algn="ctr" defTabSz="623438">
              <a:spcBef>
                <a:spcPts val="100"/>
              </a:spcBef>
              <a:spcAft>
                <a:spcPts val="200"/>
              </a:spcAft>
              <a:defRPr/>
            </a:pPr>
            <a:r>
              <a:rPr kumimoji="0" lang="en-US" sz="140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 Semibold"/>
              </a:rPr>
              <a:t>Outcomes for your business</a:t>
            </a:r>
          </a:p>
          <a:p>
            <a:pPr marL="8255" algn="ctr" defTabSz="623438">
              <a:spcBef>
                <a:spcPts val="100"/>
              </a:spcBef>
              <a:spcAft>
                <a:spcPts val="200"/>
              </a:spcAft>
              <a:defRPr/>
            </a:pPr>
            <a:r>
              <a:rPr lang="en-US" sz="1200">
                <a:solidFill>
                  <a:schemeClr val="tx1"/>
                </a:solidFill>
              </a:rPr>
              <a:t>Empower your organization to make decisions backed by data and guided by experts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D3A2774-4195-F3D5-4C9C-70A682A6C791}"/>
              </a:ext>
            </a:extLst>
          </p:cNvPr>
          <p:cNvSpPr>
            <a:spLocks/>
          </p:cNvSpPr>
          <p:nvPr/>
        </p:nvSpPr>
        <p:spPr bwMode="auto">
          <a:xfrm>
            <a:off x="507951" y="6267867"/>
            <a:ext cx="1844088" cy="67710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Understand the collaboration tools and technology available for improving productivity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FEFEE02E-27A9-9E32-7CE8-5D6394BF4A1C}"/>
              </a:ext>
            </a:extLst>
          </p:cNvPr>
          <p:cNvSpPr>
            <a:spLocks/>
          </p:cNvSpPr>
          <p:nvPr/>
        </p:nvSpPr>
        <p:spPr bwMode="auto">
          <a:xfrm>
            <a:off x="3143177" y="6267867"/>
            <a:ext cx="1426780" cy="67710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Provides recommendations to achieve optimal security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AD1A04D6-9E44-F6F4-EAF1-E258F5B45106}"/>
              </a:ext>
            </a:extLst>
          </p:cNvPr>
          <p:cNvSpPr>
            <a:spLocks/>
          </p:cNvSpPr>
          <p:nvPr/>
        </p:nvSpPr>
        <p:spPr bwMode="auto">
          <a:xfrm>
            <a:off x="5506327" y="6267867"/>
            <a:ext cx="1639284" cy="67710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Understand capabilities and barriers to remote work for hybrid workforce</a:t>
            </a:r>
          </a:p>
        </p:txBody>
      </p:sp>
      <p:sp>
        <p:nvSpPr>
          <p:cNvPr id="166" name="Right Triangle 165">
            <a:extLst>
              <a:ext uri="{FF2B5EF4-FFF2-40B4-BE49-F238E27FC236}">
                <a16:creationId xmlns:a16="http://schemas.microsoft.com/office/drawing/2014/main" id="{10BBED50-C225-AE27-266F-9AFEBEAA691A}"/>
              </a:ext>
            </a:extLst>
          </p:cNvPr>
          <p:cNvSpPr/>
          <p:nvPr/>
        </p:nvSpPr>
        <p:spPr bwMode="auto">
          <a:xfrm rot="16200000" flipH="1">
            <a:off x="273010" y="5639038"/>
            <a:ext cx="72045" cy="66676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7" name="Right Triangle 166">
            <a:extLst>
              <a:ext uri="{FF2B5EF4-FFF2-40B4-BE49-F238E27FC236}">
                <a16:creationId xmlns:a16="http://schemas.microsoft.com/office/drawing/2014/main" id="{23553567-1787-0B48-6829-016F4A9C0981}"/>
              </a:ext>
            </a:extLst>
          </p:cNvPr>
          <p:cNvSpPr/>
          <p:nvPr/>
        </p:nvSpPr>
        <p:spPr bwMode="auto">
          <a:xfrm rot="5400000">
            <a:off x="7432294" y="5639039"/>
            <a:ext cx="72045" cy="66676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786AF4B3-300B-98BB-7D10-F4CCD32847BE}"/>
              </a:ext>
            </a:extLst>
          </p:cNvPr>
          <p:cNvCxnSpPr>
            <a:cxnSpLocks/>
          </p:cNvCxnSpPr>
          <p:nvPr/>
        </p:nvCxnSpPr>
        <p:spPr>
          <a:xfrm>
            <a:off x="338139" y="5921332"/>
            <a:ext cx="7100886" cy="0"/>
          </a:xfrm>
          <a:prstGeom prst="line">
            <a:avLst/>
          </a:prstGeom>
          <a:noFill/>
          <a:ln w="6350">
            <a:solidFill>
              <a:schemeClr val="tx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0F1322B0-C05E-5A1B-5C4C-7ED6ED82F315}"/>
              </a:ext>
            </a:extLst>
          </p:cNvPr>
          <p:cNvCxnSpPr>
            <a:cxnSpLocks/>
          </p:cNvCxnSpPr>
          <p:nvPr/>
        </p:nvCxnSpPr>
        <p:spPr>
          <a:xfrm>
            <a:off x="2556057" y="6267867"/>
            <a:ext cx="0" cy="738664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5C93A06F-DC8D-95FA-51BD-1E4AECA435CA}"/>
              </a:ext>
            </a:extLst>
          </p:cNvPr>
          <p:cNvCxnSpPr>
            <a:cxnSpLocks/>
          </p:cNvCxnSpPr>
          <p:nvPr/>
        </p:nvCxnSpPr>
        <p:spPr>
          <a:xfrm>
            <a:off x="5131711" y="6267867"/>
            <a:ext cx="0" cy="738664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3470DE18-5163-6EED-D34F-0C4B4FF21900}"/>
              </a:ext>
            </a:extLst>
          </p:cNvPr>
          <p:cNvGrpSpPr/>
          <p:nvPr/>
        </p:nvGrpSpPr>
        <p:grpSpPr>
          <a:xfrm>
            <a:off x="278978" y="9315955"/>
            <a:ext cx="7241959" cy="580520"/>
            <a:chOff x="278978" y="9315955"/>
            <a:chExt cx="7241959" cy="580520"/>
          </a:xfrm>
        </p:grpSpPr>
        <p:sp>
          <p:nvSpPr>
            <p:cNvPr id="181" name="Rectangle: Rounded Corners 180">
              <a:extLst>
                <a:ext uri="{FF2B5EF4-FFF2-40B4-BE49-F238E27FC236}">
                  <a16:creationId xmlns:a16="http://schemas.microsoft.com/office/drawing/2014/main" id="{179768B1-2410-F7D2-1B20-A648C48076F2}"/>
                </a:ext>
              </a:extLst>
            </p:cNvPr>
            <p:cNvSpPr>
              <a:spLocks/>
            </p:cNvSpPr>
            <p:nvPr/>
          </p:nvSpPr>
          <p:spPr>
            <a:xfrm>
              <a:off x="278978" y="9344605"/>
              <a:ext cx="7215395" cy="523220"/>
            </a:xfrm>
            <a:prstGeom prst="round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571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3736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accent3"/>
                  </a:solidFill>
                  <a:latin typeface="+mj-lt"/>
                  <a:cs typeface="Segoe UI" pitchFamily="34" charset="0"/>
                </a:rPr>
                <a:t>Take the next step today!</a:t>
              </a:r>
            </a:p>
            <a:p>
              <a:pPr defTabSz="932472" fontAlgn="base">
                <a:spcBef>
                  <a:spcPts val="30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accent3"/>
                  </a:solidFill>
                  <a:cs typeface="Segoe UI" pitchFamily="34" charset="0"/>
                </a:rPr>
                <a:t>Contact your Microsoft Service Partner for more information.</a:t>
              </a:r>
            </a:p>
          </p:txBody>
        </p:sp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541C83F1-35BE-6669-EE05-4F3734400B72}"/>
                </a:ext>
              </a:extLst>
            </p:cNvPr>
            <p:cNvSpPr>
              <a:spLocks/>
            </p:cNvSpPr>
            <p:nvPr/>
          </p:nvSpPr>
          <p:spPr>
            <a:xfrm>
              <a:off x="338138" y="9315955"/>
              <a:ext cx="7182799" cy="580520"/>
            </a:xfrm>
            <a:prstGeom prst="roundRect">
              <a:avLst/>
            </a:prstGeom>
            <a:noFill/>
            <a:ln w="6350">
              <a:solidFill>
                <a:schemeClr val="accent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93776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183" name="Graphic 27">
              <a:extLst>
                <a:ext uri="{FF2B5EF4-FFF2-40B4-BE49-F238E27FC236}">
                  <a16:creationId xmlns:a16="http://schemas.microsoft.com/office/drawing/2014/main" id="{2F3E7268-8021-8840-7A13-D43116C6B6ED}"/>
                </a:ext>
              </a:extLst>
            </p:cNvPr>
            <p:cNvSpPr/>
            <p:nvPr/>
          </p:nvSpPr>
          <p:spPr>
            <a:xfrm>
              <a:off x="7032863" y="9428255"/>
              <a:ext cx="291862" cy="355920"/>
            </a:xfrm>
            <a:custGeom>
              <a:avLst/>
              <a:gdLst>
                <a:gd name="connsiteX0" fmla="*/ 93632 w 328721"/>
                <a:gd name="connsiteY0" fmla="*/ 347426 h 400867"/>
                <a:gd name="connsiteX1" fmla="*/ 147128 w 328721"/>
                <a:gd name="connsiteY1" fmla="*/ 347426 h 400867"/>
                <a:gd name="connsiteX2" fmla="*/ 240706 w 328721"/>
                <a:gd name="connsiteY2" fmla="*/ 226255 h 400867"/>
                <a:gd name="connsiteX3" fmla="*/ 240706 w 328721"/>
                <a:gd name="connsiteY3" fmla="*/ 134586 h 400867"/>
                <a:gd name="connsiteX4" fmla="*/ 240706 w 328721"/>
                <a:gd name="connsiteY4" fmla="*/ 13360 h 400867"/>
                <a:gd name="connsiteX5" fmla="*/ 227346 w 328721"/>
                <a:gd name="connsiteY5" fmla="*/ 0 h 400867"/>
                <a:gd name="connsiteX6" fmla="*/ 13360 w 328721"/>
                <a:gd name="connsiteY6" fmla="*/ 0 h 400867"/>
                <a:gd name="connsiteX7" fmla="*/ 0 w 328721"/>
                <a:gd name="connsiteY7" fmla="*/ 13360 h 400867"/>
                <a:gd name="connsiteX8" fmla="*/ 0 w 328721"/>
                <a:gd name="connsiteY8" fmla="*/ 87961 h 400867"/>
                <a:gd name="connsiteX9" fmla="*/ 0 w 328721"/>
                <a:gd name="connsiteY9" fmla="*/ 85180 h 400867"/>
                <a:gd name="connsiteX10" fmla="*/ 0 w 328721"/>
                <a:gd name="connsiteY10" fmla="*/ 387507 h 400867"/>
                <a:gd name="connsiteX11" fmla="*/ 13360 w 328721"/>
                <a:gd name="connsiteY11" fmla="*/ 400868 h 400867"/>
                <a:gd name="connsiteX12" fmla="*/ 240215 w 328721"/>
                <a:gd name="connsiteY12" fmla="*/ 400868 h 400867"/>
                <a:gd name="connsiteX13" fmla="*/ 252812 w 328721"/>
                <a:gd name="connsiteY13" fmla="*/ 388271 h 400867"/>
                <a:gd name="connsiteX14" fmla="*/ 252812 w 328721"/>
                <a:gd name="connsiteY14" fmla="*/ 344481 h 400867"/>
                <a:gd name="connsiteX15" fmla="*/ 211749 w 328721"/>
                <a:gd name="connsiteY15" fmla="*/ 317433 h 400867"/>
                <a:gd name="connsiteX16" fmla="*/ 200625 w 328721"/>
                <a:gd name="connsiteY16" fmla="*/ 257557 h 400867"/>
                <a:gd name="connsiteX17" fmla="*/ 175049 w 328721"/>
                <a:gd name="connsiteY17" fmla="*/ 231981 h 400867"/>
                <a:gd name="connsiteX18" fmla="*/ 171886 w 328721"/>
                <a:gd name="connsiteY18" fmla="*/ 226091 h 400867"/>
                <a:gd name="connsiteX19" fmla="*/ 176249 w 328721"/>
                <a:gd name="connsiteY19" fmla="*/ 203951 h 400867"/>
                <a:gd name="connsiteX20" fmla="*/ 205260 w 328721"/>
                <a:gd name="connsiteY20" fmla="*/ 193808 h 400867"/>
                <a:gd name="connsiteX21" fmla="*/ 214367 w 328721"/>
                <a:gd name="connsiteY21" fmla="*/ 199043 h 400867"/>
                <a:gd name="connsiteX22" fmla="*/ 270917 w 328721"/>
                <a:gd name="connsiteY22" fmla="*/ 258211 h 400867"/>
                <a:gd name="connsiteX23" fmla="*/ 328721 w 328721"/>
                <a:gd name="connsiteY23" fmla="*/ 400868 h 400867"/>
                <a:gd name="connsiteX24" fmla="*/ 328721 w 328721"/>
                <a:gd name="connsiteY24" fmla="*/ 199589 h 400867"/>
                <a:gd name="connsiteX25" fmla="*/ 317542 w 328721"/>
                <a:gd name="connsiteY25" fmla="*/ 175485 h 400867"/>
                <a:gd name="connsiteX26" fmla="*/ 240706 w 328721"/>
                <a:gd name="connsiteY26" fmla="*/ 110483 h 400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8721" h="400867">
                  <a:moveTo>
                    <a:pt x="93632" y="347426"/>
                  </a:moveTo>
                  <a:cubicBezTo>
                    <a:pt x="147128" y="347426"/>
                    <a:pt x="147128" y="347426"/>
                    <a:pt x="147128" y="347426"/>
                  </a:cubicBezTo>
                  <a:moveTo>
                    <a:pt x="240706" y="226255"/>
                  </a:moveTo>
                  <a:lnTo>
                    <a:pt x="240706" y="134586"/>
                  </a:lnTo>
                  <a:lnTo>
                    <a:pt x="240706" y="13360"/>
                  </a:lnTo>
                  <a:cubicBezTo>
                    <a:pt x="240706" y="5999"/>
                    <a:pt x="234708" y="0"/>
                    <a:pt x="227346" y="0"/>
                  </a:cubicBezTo>
                  <a:lnTo>
                    <a:pt x="13360" y="0"/>
                  </a:lnTo>
                  <a:cubicBezTo>
                    <a:pt x="5999" y="0"/>
                    <a:pt x="0" y="5999"/>
                    <a:pt x="0" y="13360"/>
                  </a:cubicBezTo>
                  <a:lnTo>
                    <a:pt x="0" y="87961"/>
                  </a:lnTo>
                  <a:lnTo>
                    <a:pt x="0" y="85180"/>
                  </a:lnTo>
                  <a:lnTo>
                    <a:pt x="0" y="387507"/>
                  </a:lnTo>
                  <a:cubicBezTo>
                    <a:pt x="0" y="394869"/>
                    <a:pt x="5999" y="400868"/>
                    <a:pt x="13360" y="400868"/>
                  </a:cubicBezTo>
                  <a:lnTo>
                    <a:pt x="240215" y="400868"/>
                  </a:lnTo>
                  <a:cubicBezTo>
                    <a:pt x="247141" y="400868"/>
                    <a:pt x="252812" y="395251"/>
                    <a:pt x="252812" y="388271"/>
                  </a:cubicBezTo>
                  <a:lnTo>
                    <a:pt x="252812" y="344481"/>
                  </a:lnTo>
                  <a:cubicBezTo>
                    <a:pt x="246923" y="343063"/>
                    <a:pt x="226310" y="337392"/>
                    <a:pt x="211749" y="317433"/>
                  </a:cubicBezTo>
                  <a:cubicBezTo>
                    <a:pt x="192663" y="291258"/>
                    <a:pt x="199534" y="261756"/>
                    <a:pt x="200625" y="257557"/>
                  </a:cubicBezTo>
                  <a:lnTo>
                    <a:pt x="175049" y="231981"/>
                  </a:lnTo>
                  <a:cubicBezTo>
                    <a:pt x="173413" y="230345"/>
                    <a:pt x="172268" y="228327"/>
                    <a:pt x="171886" y="226091"/>
                  </a:cubicBezTo>
                  <a:cubicBezTo>
                    <a:pt x="170959" y="221074"/>
                    <a:pt x="170359" y="211913"/>
                    <a:pt x="176249" y="203951"/>
                  </a:cubicBezTo>
                  <a:cubicBezTo>
                    <a:pt x="182575" y="195444"/>
                    <a:pt x="193972" y="191463"/>
                    <a:pt x="205260" y="193808"/>
                  </a:cubicBezTo>
                  <a:cubicBezTo>
                    <a:pt x="208750" y="194517"/>
                    <a:pt x="211858" y="196480"/>
                    <a:pt x="214367" y="199043"/>
                  </a:cubicBezTo>
                  <a:cubicBezTo>
                    <a:pt x="233235" y="218784"/>
                    <a:pt x="252049" y="238525"/>
                    <a:pt x="270917" y="258211"/>
                  </a:cubicBezTo>
                  <a:moveTo>
                    <a:pt x="328721" y="400868"/>
                  </a:moveTo>
                  <a:lnTo>
                    <a:pt x="328721" y="199589"/>
                  </a:lnTo>
                  <a:cubicBezTo>
                    <a:pt x="328721" y="190318"/>
                    <a:pt x="324632" y="181484"/>
                    <a:pt x="317542" y="175485"/>
                  </a:cubicBezTo>
                  <a:lnTo>
                    <a:pt x="240706" y="110483"/>
                  </a:lnTo>
                </a:path>
              </a:pathLst>
            </a:cu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E864C5A-5A12-B4A7-0028-F2976C97E15F}"/>
              </a:ext>
            </a:extLst>
          </p:cNvPr>
          <p:cNvGrpSpPr/>
          <p:nvPr/>
        </p:nvGrpSpPr>
        <p:grpSpPr>
          <a:xfrm>
            <a:off x="3682841" y="2241589"/>
            <a:ext cx="336878" cy="336878"/>
            <a:chOff x="3682841" y="2241589"/>
            <a:chExt cx="336878" cy="336878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1C3B91F3-A753-228F-CE7E-27E6DC86A212}"/>
                </a:ext>
              </a:extLst>
            </p:cNvPr>
            <p:cNvSpPr/>
            <p:nvPr/>
          </p:nvSpPr>
          <p:spPr bwMode="auto">
            <a:xfrm>
              <a:off x="3682841" y="2241589"/>
              <a:ext cx="336878" cy="336878"/>
            </a:xfrm>
            <a:prstGeom prst="ellipse">
              <a:avLst/>
            </a:prstGeom>
            <a:solidFill>
              <a:schemeClr val="tx1"/>
            </a:solidFill>
            <a:ln w="6350">
              <a:noFill/>
              <a:headEnd type="none" w="med" len="med"/>
              <a:tailEnd type="none" w="med" len="med"/>
            </a:ln>
            <a:effectLst>
              <a:outerShdw blurRad="38100" dist="38100" dir="5400000" sx="94000" sy="94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IN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185" name="people_6" title="Icon of a person with a screen behind them">
              <a:extLst>
                <a:ext uri="{FF2B5EF4-FFF2-40B4-BE49-F238E27FC236}">
                  <a16:creationId xmlns:a16="http://schemas.microsoft.com/office/drawing/2014/main" id="{370A846A-6086-707C-08DD-32BE64FA5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70223" y="2329292"/>
              <a:ext cx="162115" cy="161472"/>
            </a:xfrm>
            <a:custGeom>
              <a:avLst/>
              <a:gdLst>
                <a:gd name="T0" fmla="*/ 90 w 347"/>
                <a:gd name="T1" fmla="*/ 124 h 347"/>
                <a:gd name="T2" fmla="*/ 175 w 347"/>
                <a:gd name="T3" fmla="*/ 39 h 347"/>
                <a:gd name="T4" fmla="*/ 260 w 347"/>
                <a:gd name="T5" fmla="*/ 124 h 347"/>
                <a:gd name="T6" fmla="*/ 175 w 347"/>
                <a:gd name="T7" fmla="*/ 209 h 347"/>
                <a:gd name="T8" fmla="*/ 90 w 347"/>
                <a:gd name="T9" fmla="*/ 124 h 347"/>
                <a:gd name="T10" fmla="*/ 311 w 347"/>
                <a:gd name="T11" fmla="*/ 347 h 347"/>
                <a:gd name="T12" fmla="*/ 174 w 347"/>
                <a:gd name="T13" fmla="*/ 209 h 347"/>
                <a:gd name="T14" fmla="*/ 36 w 347"/>
                <a:gd name="T15" fmla="*/ 347 h 347"/>
                <a:gd name="T16" fmla="*/ 293 w 347"/>
                <a:gd name="T17" fmla="*/ 239 h 347"/>
                <a:gd name="T18" fmla="*/ 347 w 347"/>
                <a:gd name="T19" fmla="*/ 239 h 347"/>
                <a:gd name="T20" fmla="*/ 347 w 347"/>
                <a:gd name="T21" fmla="*/ 0 h 347"/>
                <a:gd name="T22" fmla="*/ 0 w 347"/>
                <a:gd name="T23" fmla="*/ 0 h 347"/>
                <a:gd name="T24" fmla="*/ 0 w 347"/>
                <a:gd name="T25" fmla="*/ 239 h 347"/>
                <a:gd name="T26" fmla="*/ 54 w 347"/>
                <a:gd name="T27" fmla="*/ 239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7" h="347">
                  <a:moveTo>
                    <a:pt x="90" y="124"/>
                  </a:moveTo>
                  <a:cubicBezTo>
                    <a:pt x="90" y="77"/>
                    <a:pt x="128" y="39"/>
                    <a:pt x="175" y="39"/>
                  </a:cubicBezTo>
                  <a:cubicBezTo>
                    <a:pt x="222" y="39"/>
                    <a:pt x="260" y="77"/>
                    <a:pt x="260" y="124"/>
                  </a:cubicBezTo>
                  <a:cubicBezTo>
                    <a:pt x="260" y="171"/>
                    <a:pt x="222" y="209"/>
                    <a:pt x="175" y="209"/>
                  </a:cubicBezTo>
                  <a:cubicBezTo>
                    <a:pt x="128" y="209"/>
                    <a:pt x="90" y="171"/>
                    <a:pt x="90" y="124"/>
                  </a:cubicBezTo>
                  <a:close/>
                  <a:moveTo>
                    <a:pt x="311" y="347"/>
                  </a:moveTo>
                  <a:cubicBezTo>
                    <a:pt x="311" y="271"/>
                    <a:pt x="249" y="209"/>
                    <a:pt x="174" y="209"/>
                  </a:cubicBezTo>
                  <a:cubicBezTo>
                    <a:pt x="98" y="209"/>
                    <a:pt x="36" y="271"/>
                    <a:pt x="36" y="347"/>
                  </a:cubicBezTo>
                  <a:moveTo>
                    <a:pt x="293" y="239"/>
                  </a:moveTo>
                  <a:cubicBezTo>
                    <a:pt x="347" y="239"/>
                    <a:pt x="347" y="239"/>
                    <a:pt x="347" y="239"/>
                  </a:cubicBezTo>
                  <a:cubicBezTo>
                    <a:pt x="347" y="0"/>
                    <a:pt x="347" y="0"/>
                    <a:pt x="3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54" y="239"/>
                    <a:pt x="54" y="239"/>
                    <a:pt x="54" y="239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8C95CAC-71C2-1784-2ECA-B2B5EF0E0FDC}"/>
              </a:ext>
            </a:extLst>
          </p:cNvPr>
          <p:cNvGrpSpPr/>
          <p:nvPr/>
        </p:nvGrpSpPr>
        <p:grpSpPr>
          <a:xfrm>
            <a:off x="3682841" y="2806699"/>
            <a:ext cx="336878" cy="336878"/>
            <a:chOff x="3682841" y="2806699"/>
            <a:chExt cx="336878" cy="336878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EA5F0FD9-582B-C138-7935-9C6B663DFF67}"/>
                </a:ext>
              </a:extLst>
            </p:cNvPr>
            <p:cNvSpPr/>
            <p:nvPr/>
          </p:nvSpPr>
          <p:spPr bwMode="auto">
            <a:xfrm>
              <a:off x="3682841" y="2806699"/>
              <a:ext cx="336878" cy="336878"/>
            </a:xfrm>
            <a:prstGeom prst="ellipse">
              <a:avLst/>
            </a:prstGeom>
            <a:solidFill>
              <a:schemeClr val="tx1"/>
            </a:solidFill>
            <a:ln w="6350">
              <a:noFill/>
              <a:headEnd type="none" w="med" len="med"/>
              <a:tailEnd type="none" w="med" len="med"/>
            </a:ln>
            <a:effectLst>
              <a:outerShdw blurRad="38100" dist="38100" dir="5400000" sx="94000" sy="94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IN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grpSp>
          <p:nvGrpSpPr>
            <p:cNvPr id="186" name="Graphic 23">
              <a:extLst>
                <a:ext uri="{FF2B5EF4-FFF2-40B4-BE49-F238E27FC236}">
                  <a16:creationId xmlns:a16="http://schemas.microsoft.com/office/drawing/2014/main" id="{3037ADB3-E541-F532-42D0-CE48A57F45BA}"/>
                </a:ext>
              </a:extLst>
            </p:cNvPr>
            <p:cNvGrpSpPr/>
            <p:nvPr/>
          </p:nvGrpSpPr>
          <p:grpSpPr>
            <a:xfrm>
              <a:off x="3767116" y="2892164"/>
              <a:ext cx="168328" cy="165948"/>
              <a:chOff x="5980206" y="3259231"/>
              <a:chExt cx="478345" cy="471582"/>
            </a:xfrm>
            <a:noFill/>
          </p:grpSpPr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4E716679-40F4-D5F5-314C-01FDD2AE728B}"/>
                  </a:ext>
                </a:extLst>
              </p:cNvPr>
              <p:cNvSpPr/>
              <p:nvPr/>
            </p:nvSpPr>
            <p:spPr>
              <a:xfrm>
                <a:off x="6129177" y="3259231"/>
                <a:ext cx="180498" cy="180498"/>
              </a:xfrm>
              <a:custGeom>
                <a:avLst/>
                <a:gdLst>
                  <a:gd name="connsiteX0" fmla="*/ 0 w 180498"/>
                  <a:gd name="connsiteY0" fmla="*/ 0 h 180498"/>
                  <a:gd name="connsiteX1" fmla="*/ 180499 w 180498"/>
                  <a:gd name="connsiteY1" fmla="*/ 0 h 180498"/>
                  <a:gd name="connsiteX2" fmla="*/ 180499 w 180498"/>
                  <a:gd name="connsiteY2" fmla="*/ 180499 h 180498"/>
                  <a:gd name="connsiteX3" fmla="*/ 0 w 180498"/>
                  <a:gd name="connsiteY3" fmla="*/ 180499 h 180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498" h="180498">
                    <a:moveTo>
                      <a:pt x="0" y="0"/>
                    </a:moveTo>
                    <a:lnTo>
                      <a:pt x="180499" y="0"/>
                    </a:lnTo>
                    <a:lnTo>
                      <a:pt x="180499" y="180499"/>
                    </a:lnTo>
                    <a:lnTo>
                      <a:pt x="0" y="1804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95C87861-2EA4-A9A3-C3B6-05F9064E74A6}"/>
                  </a:ext>
                </a:extLst>
              </p:cNvPr>
              <p:cNvSpPr/>
              <p:nvPr/>
            </p:nvSpPr>
            <p:spPr>
              <a:xfrm>
                <a:off x="5980206" y="3550315"/>
                <a:ext cx="180498" cy="180498"/>
              </a:xfrm>
              <a:custGeom>
                <a:avLst/>
                <a:gdLst>
                  <a:gd name="connsiteX0" fmla="*/ 0 w 180498"/>
                  <a:gd name="connsiteY0" fmla="*/ 0 h 180498"/>
                  <a:gd name="connsiteX1" fmla="*/ 180499 w 180498"/>
                  <a:gd name="connsiteY1" fmla="*/ 0 h 180498"/>
                  <a:gd name="connsiteX2" fmla="*/ 180499 w 180498"/>
                  <a:gd name="connsiteY2" fmla="*/ 180499 h 180498"/>
                  <a:gd name="connsiteX3" fmla="*/ 0 w 180498"/>
                  <a:gd name="connsiteY3" fmla="*/ 180499 h 180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498" h="180498">
                    <a:moveTo>
                      <a:pt x="0" y="0"/>
                    </a:moveTo>
                    <a:lnTo>
                      <a:pt x="180499" y="0"/>
                    </a:lnTo>
                    <a:lnTo>
                      <a:pt x="180499" y="180499"/>
                    </a:lnTo>
                    <a:lnTo>
                      <a:pt x="0" y="1804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DA046BC1-8943-B616-C4B0-BEDB4AA4055C}"/>
                  </a:ext>
                </a:extLst>
              </p:cNvPr>
              <p:cNvSpPr/>
              <p:nvPr/>
            </p:nvSpPr>
            <p:spPr>
              <a:xfrm>
                <a:off x="6278053" y="3550315"/>
                <a:ext cx="180498" cy="180498"/>
              </a:xfrm>
              <a:custGeom>
                <a:avLst/>
                <a:gdLst>
                  <a:gd name="connsiteX0" fmla="*/ 0 w 180498"/>
                  <a:gd name="connsiteY0" fmla="*/ 0 h 180498"/>
                  <a:gd name="connsiteX1" fmla="*/ 180499 w 180498"/>
                  <a:gd name="connsiteY1" fmla="*/ 0 h 180498"/>
                  <a:gd name="connsiteX2" fmla="*/ 180499 w 180498"/>
                  <a:gd name="connsiteY2" fmla="*/ 180499 h 180498"/>
                  <a:gd name="connsiteX3" fmla="*/ 0 w 180498"/>
                  <a:gd name="connsiteY3" fmla="*/ 180499 h 180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498" h="180498">
                    <a:moveTo>
                      <a:pt x="0" y="0"/>
                    </a:moveTo>
                    <a:lnTo>
                      <a:pt x="180499" y="0"/>
                    </a:lnTo>
                    <a:lnTo>
                      <a:pt x="180499" y="180499"/>
                    </a:lnTo>
                    <a:lnTo>
                      <a:pt x="0" y="180499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BA3B1F07-D95E-0C45-B283-F5F845F8983F}"/>
                  </a:ext>
                </a:extLst>
              </p:cNvPr>
              <p:cNvSpPr/>
              <p:nvPr/>
            </p:nvSpPr>
            <p:spPr>
              <a:xfrm>
                <a:off x="6070503" y="3439730"/>
                <a:ext cx="148875" cy="110585"/>
              </a:xfrm>
              <a:custGeom>
                <a:avLst/>
                <a:gdLst>
                  <a:gd name="connsiteX0" fmla="*/ 148876 w 148875"/>
                  <a:gd name="connsiteY0" fmla="*/ 0 h 110585"/>
                  <a:gd name="connsiteX1" fmla="*/ 148876 w 148875"/>
                  <a:gd name="connsiteY1" fmla="*/ 56388 h 110585"/>
                  <a:gd name="connsiteX2" fmla="*/ 0 w 148875"/>
                  <a:gd name="connsiteY2" fmla="*/ 56388 h 110585"/>
                  <a:gd name="connsiteX3" fmla="*/ 0 w 148875"/>
                  <a:gd name="connsiteY3" fmla="*/ 110585 h 110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875" h="110585">
                    <a:moveTo>
                      <a:pt x="148876" y="0"/>
                    </a:moveTo>
                    <a:lnTo>
                      <a:pt x="148876" y="56388"/>
                    </a:lnTo>
                    <a:lnTo>
                      <a:pt x="0" y="56388"/>
                    </a:lnTo>
                    <a:lnTo>
                      <a:pt x="0" y="110585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1DDDDDCA-0892-089A-1BFA-7D6E7B7B7C33}"/>
                  </a:ext>
                </a:extLst>
              </p:cNvPr>
              <p:cNvSpPr/>
              <p:nvPr/>
            </p:nvSpPr>
            <p:spPr>
              <a:xfrm>
                <a:off x="6219379" y="3439730"/>
                <a:ext cx="148875" cy="110585"/>
              </a:xfrm>
              <a:custGeom>
                <a:avLst/>
                <a:gdLst>
                  <a:gd name="connsiteX0" fmla="*/ 0 w 148875"/>
                  <a:gd name="connsiteY0" fmla="*/ 0 h 110585"/>
                  <a:gd name="connsiteX1" fmla="*/ 0 w 148875"/>
                  <a:gd name="connsiteY1" fmla="*/ 56388 h 110585"/>
                  <a:gd name="connsiteX2" fmla="*/ 148876 w 148875"/>
                  <a:gd name="connsiteY2" fmla="*/ 56388 h 110585"/>
                  <a:gd name="connsiteX3" fmla="*/ 148876 w 148875"/>
                  <a:gd name="connsiteY3" fmla="*/ 110585 h 110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8875" h="110585">
                    <a:moveTo>
                      <a:pt x="0" y="0"/>
                    </a:moveTo>
                    <a:lnTo>
                      <a:pt x="0" y="56388"/>
                    </a:lnTo>
                    <a:lnTo>
                      <a:pt x="148876" y="56388"/>
                    </a:lnTo>
                    <a:lnTo>
                      <a:pt x="148876" y="110585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E736928-45DC-53ED-26A2-0346373B4FF9}"/>
              </a:ext>
            </a:extLst>
          </p:cNvPr>
          <p:cNvGrpSpPr/>
          <p:nvPr/>
        </p:nvGrpSpPr>
        <p:grpSpPr>
          <a:xfrm>
            <a:off x="3682841" y="3371808"/>
            <a:ext cx="336878" cy="336878"/>
            <a:chOff x="3682841" y="3371808"/>
            <a:chExt cx="336878" cy="336878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86DFD5BC-8EED-2CC0-E5A4-4A8EBECE8655}"/>
                </a:ext>
              </a:extLst>
            </p:cNvPr>
            <p:cNvSpPr/>
            <p:nvPr/>
          </p:nvSpPr>
          <p:spPr bwMode="auto">
            <a:xfrm>
              <a:off x="3682841" y="3371808"/>
              <a:ext cx="336878" cy="336878"/>
            </a:xfrm>
            <a:prstGeom prst="ellipse">
              <a:avLst/>
            </a:prstGeom>
            <a:solidFill>
              <a:schemeClr val="tx1"/>
            </a:solidFill>
            <a:ln w="6350">
              <a:noFill/>
              <a:headEnd type="none" w="med" len="med"/>
              <a:tailEnd type="none" w="med" len="med"/>
            </a:ln>
            <a:effectLst>
              <a:outerShdw blurRad="38100" dist="38100" dir="5400000" sx="94000" sy="94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IN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192" name="Freeform 13" title="Icon of a cloud">
              <a:extLst>
                <a:ext uri="{FF2B5EF4-FFF2-40B4-BE49-F238E27FC236}">
                  <a16:creationId xmlns:a16="http://schemas.microsoft.com/office/drawing/2014/main" id="{C6BD874E-01AD-57BA-9F3F-DC956982F5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45895" y="3482437"/>
              <a:ext cx="210770" cy="115620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C5DFBF4-528D-8E6E-436F-C1E6CDA497C4}"/>
              </a:ext>
            </a:extLst>
          </p:cNvPr>
          <p:cNvGrpSpPr/>
          <p:nvPr/>
        </p:nvGrpSpPr>
        <p:grpSpPr>
          <a:xfrm>
            <a:off x="1240917" y="5740721"/>
            <a:ext cx="361222" cy="361222"/>
            <a:chOff x="1240917" y="5740721"/>
            <a:chExt cx="361222" cy="361222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AAE89138-856C-D9E2-15E6-2E1F23A44B3D}"/>
                </a:ext>
              </a:extLst>
            </p:cNvPr>
            <p:cNvSpPr/>
            <p:nvPr/>
          </p:nvSpPr>
          <p:spPr bwMode="auto">
            <a:xfrm>
              <a:off x="1240917" y="5740721"/>
              <a:ext cx="361222" cy="361222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3" name="tool" title="Icon of a skrewdriver and wrench">
              <a:extLst>
                <a:ext uri="{FF2B5EF4-FFF2-40B4-BE49-F238E27FC236}">
                  <a16:creationId xmlns:a16="http://schemas.microsoft.com/office/drawing/2014/main" id="{8FA4A7D3-F587-852B-EA0B-FF1942E3F37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42673" y="5810256"/>
              <a:ext cx="157711" cy="222152"/>
            </a:xfrm>
            <a:custGeom>
              <a:avLst/>
              <a:gdLst>
                <a:gd name="T0" fmla="*/ 196 w 256"/>
                <a:gd name="T1" fmla="*/ 0 h 360"/>
                <a:gd name="T2" fmla="*/ 256 w 256"/>
                <a:gd name="T3" fmla="*/ 60 h 360"/>
                <a:gd name="T4" fmla="*/ 230 w 256"/>
                <a:gd name="T5" fmla="*/ 110 h 360"/>
                <a:gd name="T6" fmla="*/ 222 w 256"/>
                <a:gd name="T7" fmla="*/ 114 h 360"/>
                <a:gd name="T8" fmla="*/ 222 w 256"/>
                <a:gd name="T9" fmla="*/ 334 h 360"/>
                <a:gd name="T10" fmla="*/ 196 w 256"/>
                <a:gd name="T11" fmla="*/ 360 h 360"/>
                <a:gd name="T12" fmla="*/ 170 w 256"/>
                <a:gd name="T13" fmla="*/ 334 h 360"/>
                <a:gd name="T14" fmla="*/ 170 w 256"/>
                <a:gd name="T15" fmla="*/ 114 h 360"/>
                <a:gd name="T16" fmla="*/ 162 w 256"/>
                <a:gd name="T17" fmla="*/ 110 h 360"/>
                <a:gd name="T18" fmla="*/ 136 w 256"/>
                <a:gd name="T19" fmla="*/ 60 h 360"/>
                <a:gd name="T20" fmla="*/ 196 w 256"/>
                <a:gd name="T21" fmla="*/ 0 h 360"/>
                <a:gd name="T22" fmla="*/ 0 w 256"/>
                <a:gd name="T23" fmla="*/ 193 h 360"/>
                <a:gd name="T24" fmla="*/ 0 w 256"/>
                <a:gd name="T25" fmla="*/ 219 h 360"/>
                <a:gd name="T26" fmla="*/ 0 w 256"/>
                <a:gd name="T27" fmla="*/ 287 h 360"/>
                <a:gd name="T28" fmla="*/ 0 w 256"/>
                <a:gd name="T29" fmla="*/ 334 h 360"/>
                <a:gd name="T30" fmla="*/ 26 w 256"/>
                <a:gd name="T31" fmla="*/ 360 h 360"/>
                <a:gd name="T32" fmla="*/ 53 w 256"/>
                <a:gd name="T33" fmla="*/ 334 h 360"/>
                <a:gd name="T34" fmla="*/ 53 w 256"/>
                <a:gd name="T35" fmla="*/ 287 h 360"/>
                <a:gd name="T36" fmla="*/ 53 w 256"/>
                <a:gd name="T37" fmla="*/ 219 h 360"/>
                <a:gd name="T38" fmla="*/ 53 w 256"/>
                <a:gd name="T39" fmla="*/ 193 h 360"/>
                <a:gd name="T40" fmla="*/ 26 w 256"/>
                <a:gd name="T41" fmla="*/ 193 h 360"/>
                <a:gd name="T42" fmla="*/ 0 w 256"/>
                <a:gd name="T43" fmla="*/ 193 h 360"/>
                <a:gd name="T44" fmla="*/ 53 w 256"/>
                <a:gd name="T45" fmla="*/ 0 h 360"/>
                <a:gd name="T46" fmla="*/ 0 w 256"/>
                <a:gd name="T47" fmla="*/ 0 h 360"/>
                <a:gd name="T48" fmla="*/ 0 w 256"/>
                <a:gd name="T49" fmla="*/ 42 h 360"/>
                <a:gd name="T50" fmla="*/ 26 w 256"/>
                <a:gd name="T51" fmla="*/ 68 h 360"/>
                <a:gd name="T52" fmla="*/ 53 w 256"/>
                <a:gd name="T53" fmla="*/ 42 h 360"/>
                <a:gd name="T54" fmla="*/ 53 w 256"/>
                <a:gd name="T55" fmla="*/ 0 h 360"/>
                <a:gd name="T56" fmla="*/ 26 w 256"/>
                <a:gd name="T57" fmla="*/ 68 h 360"/>
                <a:gd name="T58" fmla="*/ 26 w 256"/>
                <a:gd name="T59" fmla="*/ 193 h 360"/>
                <a:gd name="T60" fmla="*/ 193 w 256"/>
                <a:gd name="T61" fmla="*/ 0 h 360"/>
                <a:gd name="T62" fmla="*/ 193 w 256"/>
                <a:gd name="T63" fmla="*/ 57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360">
                  <a:moveTo>
                    <a:pt x="196" y="0"/>
                  </a:moveTo>
                  <a:cubicBezTo>
                    <a:pt x="229" y="0"/>
                    <a:pt x="256" y="27"/>
                    <a:pt x="256" y="60"/>
                  </a:cubicBezTo>
                  <a:cubicBezTo>
                    <a:pt x="256" y="81"/>
                    <a:pt x="246" y="99"/>
                    <a:pt x="230" y="110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2" y="348"/>
                    <a:pt x="210" y="360"/>
                    <a:pt x="196" y="360"/>
                  </a:cubicBezTo>
                  <a:cubicBezTo>
                    <a:pt x="182" y="360"/>
                    <a:pt x="170" y="348"/>
                    <a:pt x="170" y="33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47" y="99"/>
                    <a:pt x="136" y="81"/>
                    <a:pt x="136" y="60"/>
                  </a:cubicBezTo>
                  <a:cubicBezTo>
                    <a:pt x="136" y="27"/>
                    <a:pt x="163" y="0"/>
                    <a:pt x="196" y="0"/>
                  </a:cubicBezTo>
                  <a:close/>
                  <a:moveTo>
                    <a:pt x="0" y="193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41" y="360"/>
                    <a:pt x="53" y="348"/>
                    <a:pt x="53" y="334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53" y="193"/>
                    <a:pt x="53" y="193"/>
                    <a:pt x="53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0" y="193"/>
                    <a:pt x="0" y="193"/>
                    <a:pt x="0" y="193"/>
                  </a:cubicBezTo>
                  <a:close/>
                  <a:moveTo>
                    <a:pt x="5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0"/>
                    <a:pt x="53" y="0"/>
                    <a:pt x="53" y="0"/>
                  </a:cubicBezTo>
                  <a:close/>
                  <a:moveTo>
                    <a:pt x="26" y="68"/>
                  </a:moveTo>
                  <a:cubicBezTo>
                    <a:pt x="26" y="193"/>
                    <a:pt x="26" y="193"/>
                    <a:pt x="26" y="193"/>
                  </a:cubicBezTo>
                  <a:moveTo>
                    <a:pt x="193" y="0"/>
                  </a:moveTo>
                  <a:cubicBezTo>
                    <a:pt x="193" y="57"/>
                    <a:pt x="193" y="57"/>
                    <a:pt x="193" y="57"/>
                  </a:cubicBezTo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A3EACC-6BED-F538-60C6-104DE4CBC52D}"/>
              </a:ext>
            </a:extLst>
          </p:cNvPr>
          <p:cNvGrpSpPr/>
          <p:nvPr/>
        </p:nvGrpSpPr>
        <p:grpSpPr>
          <a:xfrm>
            <a:off x="3705589" y="5740721"/>
            <a:ext cx="361222" cy="361222"/>
            <a:chOff x="3705589" y="5740721"/>
            <a:chExt cx="361222" cy="361222"/>
          </a:xfrm>
        </p:grpSpPr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72051BA3-56F3-7582-1C15-16E190009340}"/>
                </a:ext>
              </a:extLst>
            </p:cNvPr>
            <p:cNvSpPr/>
            <p:nvPr/>
          </p:nvSpPr>
          <p:spPr bwMode="auto">
            <a:xfrm>
              <a:off x="3705589" y="5740721"/>
              <a:ext cx="361222" cy="361222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4" name="Shield_EA18" title="Icon of a shield">
              <a:extLst>
                <a:ext uri="{FF2B5EF4-FFF2-40B4-BE49-F238E27FC236}">
                  <a16:creationId xmlns:a16="http://schemas.microsoft.com/office/drawing/2014/main" id="{D4148BC6-3414-43A7-B691-95844980A1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7450" y="5805550"/>
              <a:ext cx="217500" cy="231565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8459388-E228-B8B1-8995-6AFB4F9A82D4}"/>
              </a:ext>
            </a:extLst>
          </p:cNvPr>
          <p:cNvGrpSpPr/>
          <p:nvPr/>
        </p:nvGrpSpPr>
        <p:grpSpPr>
          <a:xfrm>
            <a:off x="6106680" y="5740721"/>
            <a:ext cx="361222" cy="361222"/>
            <a:chOff x="6106680" y="5740721"/>
            <a:chExt cx="361222" cy="361222"/>
          </a:xfrm>
        </p:grpSpPr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BB484C37-65FF-CD32-B31A-CA2F97148DAA}"/>
                </a:ext>
              </a:extLst>
            </p:cNvPr>
            <p:cNvSpPr/>
            <p:nvPr/>
          </p:nvSpPr>
          <p:spPr bwMode="auto">
            <a:xfrm>
              <a:off x="6106680" y="5740721"/>
              <a:ext cx="361222" cy="361222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5" name="Graphic 147">
              <a:extLst>
                <a:ext uri="{FF2B5EF4-FFF2-40B4-BE49-F238E27FC236}">
                  <a16:creationId xmlns:a16="http://schemas.microsoft.com/office/drawing/2014/main" id="{8BC27504-618F-0BA2-3472-F413204EB46C}"/>
                </a:ext>
              </a:extLst>
            </p:cNvPr>
            <p:cNvGrpSpPr/>
            <p:nvPr/>
          </p:nvGrpSpPr>
          <p:grpSpPr>
            <a:xfrm>
              <a:off x="6161956" y="5835486"/>
              <a:ext cx="250671" cy="171692"/>
              <a:chOff x="5870574" y="3259137"/>
              <a:chExt cx="695325" cy="476250"/>
            </a:xfrm>
          </p:grpSpPr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23A2D419-F47E-132A-DEC5-55440B06AB2F}"/>
                  </a:ext>
                </a:extLst>
              </p:cNvPr>
              <p:cNvSpPr/>
              <p:nvPr/>
            </p:nvSpPr>
            <p:spPr>
              <a:xfrm>
                <a:off x="5966776" y="3263994"/>
                <a:ext cx="502253" cy="323659"/>
              </a:xfrm>
              <a:custGeom>
                <a:avLst/>
                <a:gdLst>
                  <a:gd name="connsiteX0" fmla="*/ 502253 w 502253"/>
                  <a:gd name="connsiteY0" fmla="*/ 323660 h 323659"/>
                  <a:gd name="connsiteX1" fmla="*/ 0 w 502253"/>
                  <a:gd name="connsiteY1" fmla="*/ 323660 h 323659"/>
                  <a:gd name="connsiteX2" fmla="*/ 0 w 502253"/>
                  <a:gd name="connsiteY2" fmla="*/ 0 h 323659"/>
                  <a:gd name="connsiteX3" fmla="*/ 502253 w 502253"/>
                  <a:gd name="connsiteY3" fmla="*/ 0 h 323659"/>
                  <a:gd name="connsiteX4" fmla="*/ 502253 w 502253"/>
                  <a:gd name="connsiteY4" fmla="*/ 323660 h 323659"/>
                  <a:gd name="connsiteX5" fmla="*/ 502253 w 502253"/>
                  <a:gd name="connsiteY5" fmla="*/ 323660 h 323659"/>
                  <a:gd name="connsiteX6" fmla="*/ 502253 w 502253"/>
                  <a:gd name="connsiteY6" fmla="*/ 323660 h 323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2253" h="323659">
                    <a:moveTo>
                      <a:pt x="502253" y="323660"/>
                    </a:moveTo>
                    <a:cubicBezTo>
                      <a:pt x="0" y="323660"/>
                      <a:pt x="0" y="323660"/>
                      <a:pt x="0" y="3236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02253" y="0"/>
                      <a:pt x="502253" y="0"/>
                      <a:pt x="502253" y="0"/>
                    </a:cubicBezTo>
                    <a:lnTo>
                      <a:pt x="502253" y="323660"/>
                    </a:lnTo>
                    <a:lnTo>
                      <a:pt x="502253" y="323660"/>
                    </a:lnTo>
                    <a:lnTo>
                      <a:pt x="502253" y="32366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C1761D90-988E-F012-9FF4-70A074D96E1D}"/>
                  </a:ext>
                </a:extLst>
              </p:cNvPr>
              <p:cNvSpPr/>
              <p:nvPr/>
            </p:nvSpPr>
            <p:spPr>
              <a:xfrm>
                <a:off x="5875431" y="3587749"/>
                <a:ext cx="684942" cy="138684"/>
              </a:xfrm>
              <a:custGeom>
                <a:avLst/>
                <a:gdLst>
                  <a:gd name="connsiteX0" fmla="*/ 0 w 684942"/>
                  <a:gd name="connsiteY0" fmla="*/ 115538 h 138684"/>
                  <a:gd name="connsiteX1" fmla="*/ 22860 w 684942"/>
                  <a:gd name="connsiteY1" fmla="*/ 138684 h 138684"/>
                  <a:gd name="connsiteX2" fmla="*/ 662083 w 684942"/>
                  <a:gd name="connsiteY2" fmla="*/ 138684 h 138684"/>
                  <a:gd name="connsiteX3" fmla="*/ 684943 w 684942"/>
                  <a:gd name="connsiteY3" fmla="*/ 115538 h 138684"/>
                  <a:gd name="connsiteX4" fmla="*/ 673608 w 684942"/>
                  <a:gd name="connsiteY4" fmla="*/ 80772 h 138684"/>
                  <a:gd name="connsiteX5" fmla="*/ 593598 w 684942"/>
                  <a:gd name="connsiteY5" fmla="*/ 0 h 138684"/>
                  <a:gd name="connsiteX6" fmla="*/ 91345 w 684942"/>
                  <a:gd name="connsiteY6" fmla="*/ 0 h 138684"/>
                  <a:gd name="connsiteX7" fmla="*/ 11525 w 684942"/>
                  <a:gd name="connsiteY7" fmla="*/ 80772 h 138684"/>
                  <a:gd name="connsiteX8" fmla="*/ 0 w 684942"/>
                  <a:gd name="connsiteY8" fmla="*/ 115538 h 138684"/>
                  <a:gd name="connsiteX9" fmla="*/ 0 w 684942"/>
                  <a:gd name="connsiteY9" fmla="*/ 115538 h 13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4942" h="138684">
                    <a:moveTo>
                      <a:pt x="0" y="115538"/>
                    </a:moveTo>
                    <a:cubicBezTo>
                      <a:pt x="0" y="128302"/>
                      <a:pt x="10192" y="138684"/>
                      <a:pt x="22860" y="138684"/>
                    </a:cubicBezTo>
                    <a:cubicBezTo>
                      <a:pt x="662083" y="138684"/>
                      <a:pt x="662083" y="138684"/>
                      <a:pt x="662083" y="138684"/>
                    </a:cubicBezTo>
                    <a:cubicBezTo>
                      <a:pt x="674656" y="138684"/>
                      <a:pt x="684943" y="128302"/>
                      <a:pt x="684943" y="115538"/>
                    </a:cubicBezTo>
                    <a:cubicBezTo>
                      <a:pt x="684943" y="102013"/>
                      <a:pt x="680561" y="89630"/>
                      <a:pt x="673608" y="80772"/>
                    </a:cubicBezTo>
                    <a:cubicBezTo>
                      <a:pt x="593598" y="0"/>
                      <a:pt x="593598" y="0"/>
                      <a:pt x="593598" y="0"/>
                    </a:cubicBezTo>
                    <a:cubicBezTo>
                      <a:pt x="91345" y="0"/>
                      <a:pt x="91345" y="0"/>
                      <a:pt x="91345" y="0"/>
                    </a:cubicBezTo>
                    <a:cubicBezTo>
                      <a:pt x="11525" y="80772"/>
                      <a:pt x="11525" y="80772"/>
                      <a:pt x="11525" y="80772"/>
                    </a:cubicBezTo>
                    <a:cubicBezTo>
                      <a:pt x="4382" y="89630"/>
                      <a:pt x="0" y="102013"/>
                      <a:pt x="0" y="115538"/>
                    </a:cubicBezTo>
                    <a:lnTo>
                      <a:pt x="0" y="115538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C429EF74-5AE3-2958-6B2A-DDFD429B4A66}"/>
                  </a:ext>
                </a:extLst>
              </p:cNvPr>
              <p:cNvSpPr/>
              <p:nvPr/>
            </p:nvSpPr>
            <p:spPr>
              <a:xfrm>
                <a:off x="6253479" y="3404583"/>
                <a:ext cx="167449" cy="9525"/>
              </a:xfrm>
              <a:custGeom>
                <a:avLst/>
                <a:gdLst>
                  <a:gd name="connsiteX0" fmla="*/ 0 w 167449"/>
                  <a:gd name="connsiteY0" fmla="*/ 0 h 9525"/>
                  <a:gd name="connsiteX1" fmla="*/ 167449 w 16744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49" h="9525">
                    <a:moveTo>
                      <a:pt x="0" y="0"/>
                    </a:moveTo>
                    <a:lnTo>
                      <a:pt x="167449" y="0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B766951C-7859-8A20-1932-01B41E4280AE}"/>
                  </a:ext>
                </a:extLst>
              </p:cNvPr>
              <p:cNvSpPr/>
              <p:nvPr/>
            </p:nvSpPr>
            <p:spPr>
              <a:xfrm>
                <a:off x="6332346" y="3348862"/>
                <a:ext cx="88582" cy="9525"/>
              </a:xfrm>
              <a:custGeom>
                <a:avLst/>
                <a:gdLst>
                  <a:gd name="connsiteX0" fmla="*/ 0 w 88582"/>
                  <a:gd name="connsiteY0" fmla="*/ 0 h 9525"/>
                  <a:gd name="connsiteX1" fmla="*/ 88582 w 8858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582" h="9525">
                    <a:moveTo>
                      <a:pt x="0" y="0"/>
                    </a:moveTo>
                    <a:lnTo>
                      <a:pt x="88582" y="0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560D38A8-82C0-4AE9-3320-3965D8A01E4B}"/>
                  </a:ext>
                </a:extLst>
              </p:cNvPr>
              <p:cNvSpPr/>
              <p:nvPr/>
            </p:nvSpPr>
            <p:spPr>
              <a:xfrm>
                <a:off x="6253479" y="3460209"/>
                <a:ext cx="167449" cy="9525"/>
              </a:xfrm>
              <a:custGeom>
                <a:avLst/>
                <a:gdLst>
                  <a:gd name="connsiteX0" fmla="*/ 0 w 167449"/>
                  <a:gd name="connsiteY0" fmla="*/ 0 h 9525"/>
                  <a:gd name="connsiteX1" fmla="*/ 167449 w 16744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49" h="9525">
                    <a:moveTo>
                      <a:pt x="0" y="0"/>
                    </a:moveTo>
                    <a:lnTo>
                      <a:pt x="167449" y="0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B7239E64-B905-102C-7B14-028B835684F8}"/>
                  </a:ext>
                </a:extLst>
              </p:cNvPr>
              <p:cNvSpPr/>
              <p:nvPr/>
            </p:nvSpPr>
            <p:spPr>
              <a:xfrm>
                <a:off x="6253479" y="3515835"/>
                <a:ext cx="167449" cy="9525"/>
              </a:xfrm>
              <a:custGeom>
                <a:avLst/>
                <a:gdLst>
                  <a:gd name="connsiteX0" fmla="*/ 0 w 167449"/>
                  <a:gd name="connsiteY0" fmla="*/ 0 h 9525"/>
                  <a:gd name="connsiteX1" fmla="*/ 167449 w 16744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49" h="9525">
                    <a:moveTo>
                      <a:pt x="0" y="0"/>
                    </a:moveTo>
                    <a:lnTo>
                      <a:pt x="167449" y="0"/>
                    </a:lnTo>
                  </a:path>
                </a:pathLst>
              </a:cu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822521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Custom 29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0078D4"/>
      </a:hlink>
      <a:folHlink>
        <a:srgbClr val="0078D4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C49D6B325D4C4D97383C1AD2FA2E55" ma:contentTypeVersion="17" ma:contentTypeDescription="Create a new document." ma:contentTypeScope="" ma:versionID="2064fd9d799c0768eeacd518f287b80f">
  <xsd:schema xmlns:xsd="http://www.w3.org/2001/XMLSchema" xmlns:xs="http://www.w3.org/2001/XMLSchema" xmlns:p="http://schemas.microsoft.com/office/2006/metadata/properties" xmlns:ns2="4064f67c-e4f8-4555-8538-6914faeef08c" xmlns:ns3="0c1a6c9c-f016-4857-bf43-21b252e701d9" targetNamespace="http://schemas.microsoft.com/office/2006/metadata/properties" ma:root="true" ma:fieldsID="4a37fa8ec32d92840b8793f3f46825a8" ns2:_="" ns3:_="">
    <xsd:import namespace="4064f67c-e4f8-4555-8538-6914faeef08c"/>
    <xsd:import namespace="0c1a6c9c-f016-4857-bf43-21b252e701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64f67c-e4f8-4555-8538-6914faeef0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fa10bc4-eaa5-4ac6-b730-fc3e6f8049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1a6c9c-f016-4857-bf43-21b252e701d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c88c9e2c-2459-4c98-ab47-48f8703c5e0c}" ma:internalName="TaxCatchAll" ma:showField="CatchAllData" ma:web="0c1a6c9c-f016-4857-bf43-21b252e701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4064f67c-e4f8-4555-8538-6914faeef08c" xsi:nil="true"/>
    <lcf76f155ced4ddcb4097134ff3c332f xmlns="4064f67c-e4f8-4555-8538-6914faeef08c">
      <Terms xmlns="http://schemas.microsoft.com/office/infopath/2007/PartnerControls"/>
    </lcf76f155ced4ddcb4097134ff3c332f>
    <TaxCatchAll xmlns="0c1a6c9c-f016-4857-bf43-21b252e701d9" xsi:nil="true"/>
  </documentManagement>
</p:properties>
</file>

<file path=customXml/itemProps1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7750AF-231B-4064-8E53-7E95CEAAEC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64f67c-e4f8-4555-8538-6914faeef08c"/>
    <ds:schemaRef ds:uri="0c1a6c9c-f016-4857-bf43-21b252e701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3BED54-C3DA-4D11-8434-4048C4DFDAE6}">
  <ds:schemaRefs>
    <ds:schemaRef ds:uri="0c1a6c9c-f016-4857-bf43-21b252e701d9"/>
    <ds:schemaRef ds:uri="4064f67c-e4f8-4555-8538-6914faeef08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</Words>
  <Application>Microsoft Office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Segoe UI</vt:lpstr>
      <vt:lpstr>Segoe UI Light</vt:lpstr>
      <vt:lpstr>Segoe UI Semibold</vt:lpstr>
      <vt:lpstr>Solution Assessments 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Claudia Hadzicka</cp:lastModifiedBy>
  <cp:revision>2</cp:revision>
  <dcterms:created xsi:type="dcterms:W3CDTF">2020-09-03T20:38:30Z</dcterms:created>
  <dcterms:modified xsi:type="dcterms:W3CDTF">2022-09-13T14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4BC49D6B325D4C4D97383C1AD2FA2E55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MediaServiceImageTags">
    <vt:lpwstr/>
  </property>
</Properties>
</file>